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commentAuthors.xml" ContentType="application/vnd.openxmlformats-officedocument.presentationml.commentAuthor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Default Extension="jpeg" ContentType="image/jpeg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notesSlides/notesSlide13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Default Extension="tiff" ContentType="image/tiff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516" r:id="rId2"/>
    <p:sldId id="515" r:id="rId3"/>
    <p:sldId id="509" r:id="rId4"/>
    <p:sldId id="528" r:id="rId5"/>
    <p:sldId id="2215" r:id="rId6"/>
    <p:sldId id="2278" r:id="rId7"/>
    <p:sldId id="2279" r:id="rId8"/>
    <p:sldId id="2280" r:id="rId9"/>
    <p:sldId id="2239" r:id="rId10"/>
    <p:sldId id="2218" r:id="rId11"/>
    <p:sldId id="2238" r:id="rId12"/>
    <p:sldId id="2240" r:id="rId13"/>
    <p:sldId id="2281" r:id="rId14"/>
    <p:sldId id="2283" r:id="rId15"/>
    <p:sldId id="2284" r:id="rId16"/>
    <p:sldId id="2282" r:id="rId17"/>
    <p:sldId id="2217" r:id="rId18"/>
    <p:sldId id="2219" r:id="rId19"/>
  </p:sldIdLst>
  <p:sldSz cx="12192000" cy="6858000"/>
  <p:notesSz cx="6669088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56irina65@mail.ru" initials="5" lastIdx="70" clrIdx="0">
    <p:extLst>
      <p:ext uri="{19B8F6BF-5375-455C-9EA6-DF929625EA0E}">
        <p15:presenceInfo xmlns="" xmlns:p15="http://schemas.microsoft.com/office/powerpoint/2012/main" userId="3b792fea559184a0" providerId="Windows Live"/>
      </p:ext>
    </p:extLst>
  </p:cmAuthor>
  <p:cmAuthor id="2" name="Microsoft Office User" initials="MOU" lastIdx="2" clrIdx="1">
    <p:extLst>
      <p:ext uri="{19B8F6BF-5375-455C-9EA6-DF929625EA0E}">
        <p15:presenceInfo xmlns="" xmlns:p15="http://schemas.microsoft.com/office/powerpoint/2012/main" userId="Microsoft Office 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193598"/>
    <a:srgbClr val="4B66CA"/>
    <a:srgbClr val="465267"/>
    <a:srgbClr val="2051A0"/>
    <a:srgbClr val="92B7E4"/>
    <a:srgbClr val="F6F6F6"/>
    <a:srgbClr val="E5E5E5"/>
    <a:srgbClr val="FF0000"/>
    <a:srgbClr val="0AB773"/>
    <a:srgbClr val="BABCBD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051" autoAdjust="0"/>
    <p:restoredTop sz="99275" autoAdjust="0"/>
  </p:normalViewPr>
  <p:slideViewPr>
    <p:cSldViewPr snapToGrid="0">
      <p:cViewPr varScale="1">
        <p:scale>
          <a:sx n="116" d="100"/>
          <a:sy n="116" d="100"/>
        </p:scale>
        <p:origin x="-144" y="-114"/>
      </p:cViewPr>
      <p:guideLst>
        <p:guide orient="horz" pos="2166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10" d="100"/>
          <a:sy n="110" d="100"/>
        </p:scale>
        <p:origin x="3536" y="192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="" xmlns:a16="http://schemas.microsoft.com/office/drawing/2014/main" id="{69D5BA9B-CD48-01EC-643C-DF1CE9089F2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5072EBBE-9C23-8482-91C4-930FD22F1B9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E1213A-5F56-D140-8BC4-443CF20C6D49}" type="datetimeFigureOut">
              <a:rPr lang="ru-RU" smtClean="0"/>
              <a:pPr/>
              <a:t>05.07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1C88A1D9-CE27-890E-CC8E-0BDD6FEE8F1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9D632849-5A60-8DB7-751B-B5FE010DF86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2091FD-2826-8540-9F71-44EEAF58F6E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44656025"/>
      </p:ext>
    </p:extLst>
  </p:cSld>
  <p:clrMap bg1="lt1" tx1="dk1" bg2="lt2" tx2="dk2" accent1="accent1" accent2="accent2" accent3="accent3" accent4="accent4" accent5="accent5" accent6="accent6" hlink="hlink" folHlink="folHlink"/>
  <p:extLst mod="1">
    <p:ext uri="{56416CCD-93CA-4268-BC5B-53C4BB910035}">
      <p15:sldGuideLst xmlns=""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2F2A7A-EF65-424F-B017-6175C254DC92}" type="datetimeFigureOut">
              <a:rPr lang="ru-RU" smtClean="0"/>
              <a:pPr/>
              <a:t>05.07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6909" y="4777194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EB9860-BD60-D744-84C1-C071B5E7E24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93621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EB9860-BD60-D744-84C1-C071B5E7E24D}" type="slidenum">
              <a:rPr lang="ru-RU" smtClean="0"/>
              <a:pPr/>
              <a:t>6</a:t>
            </a:fld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EB9860-BD60-D744-84C1-C071B5E7E24D}" type="slidenum">
              <a:rPr lang="ru-RU" smtClean="0"/>
              <a:pPr/>
              <a:t>15</a:t>
            </a:fld>
            <a:endParaRPr 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EB9860-BD60-D744-84C1-C071B5E7E24D}" type="slidenum">
              <a:rPr lang="ru-RU" smtClean="0"/>
              <a:pPr/>
              <a:t>16</a:t>
            </a:fld>
            <a:endParaRPr 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EB9860-BD60-D744-84C1-C071B5E7E24D}" type="slidenum">
              <a:rPr lang="ru-RU" smtClean="0"/>
              <a:pPr/>
              <a:t>17</a:t>
            </a:fld>
            <a:endParaRPr 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EB9860-BD60-D744-84C1-C071B5E7E24D}" type="slidenum">
              <a:rPr lang="ru-RU" smtClean="0"/>
              <a:pPr/>
              <a:t>18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EB9860-BD60-D744-84C1-C071B5E7E24D}" type="slidenum">
              <a:rPr lang="ru-RU" smtClean="0"/>
              <a:pPr/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EB9860-BD60-D744-84C1-C071B5E7E24D}" type="slidenum">
              <a:rPr lang="ru-RU" smtClean="0"/>
              <a:pPr/>
              <a:t>8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EB9860-BD60-D744-84C1-C071B5E7E24D}" type="slidenum">
              <a:rPr lang="ru-RU" smtClean="0"/>
              <a:pPr/>
              <a:t>9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EB9860-BD60-D744-84C1-C071B5E7E24D}" type="slidenum">
              <a:rPr lang="ru-RU" smtClean="0"/>
              <a:pPr/>
              <a:t>10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EB9860-BD60-D744-84C1-C071B5E7E24D}" type="slidenum">
              <a:rPr lang="ru-RU" smtClean="0"/>
              <a:pPr/>
              <a:t>11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EB9860-BD60-D744-84C1-C071B5E7E24D}" type="slidenum">
              <a:rPr lang="ru-RU" smtClean="0"/>
              <a:pPr/>
              <a:t>12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EB9860-BD60-D744-84C1-C071B5E7E24D}" type="slidenum">
              <a:rPr lang="ru-RU" smtClean="0"/>
              <a:pPr/>
              <a:t>13</a:t>
            </a:fld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EB9860-BD60-D744-84C1-C071B5E7E24D}" type="slidenum">
              <a:rPr lang="ru-RU" smtClean="0"/>
              <a:pPr/>
              <a:t>14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hyperlink" Target="https://disk.rzd/pbl/9acb59eb-b82b-11ed-9ff8-005056b7ac52" TargetMode="External"/><Relationship Id="rId7" Type="http://schemas.openxmlformats.org/officeDocument/2006/relationships/image" Target="../media/image4.emf"/><Relationship Id="rId2" Type="http://schemas.openxmlformats.org/officeDocument/2006/relationships/hyperlink" Target="https://disk.yandex.ru/i/DhrkV89IlBNBPQ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emf"/><Relationship Id="rId5" Type="http://schemas.openxmlformats.org/officeDocument/2006/relationships/hyperlink" Target="https://disk.rzd/pbl/6b402a77-b82b-11ed-9ff8-005056b7ac52" TargetMode="External"/><Relationship Id="rId4" Type="http://schemas.openxmlformats.org/officeDocument/2006/relationships/hyperlink" Target="https://disk.yandex.ru/d/hMhjkj-k1zf_zg" TargetMode="Externa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hyperlink" Target="https://qr-online.ru/" TargetMode="Externa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793A841A-DB23-A362-B496-85DDD1C1D359}"/>
              </a:ext>
            </a:extLst>
          </p:cNvPr>
          <p:cNvSpPr txBox="1"/>
          <p:nvPr userDrawn="1"/>
        </p:nvSpPr>
        <p:spPr>
          <a:xfrm>
            <a:off x="768836" y="312103"/>
            <a:ext cx="9683263" cy="7309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150" b="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 СОДЕРЖАНИЕ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0FA230C3-6A98-7025-7EF6-15E2AE872636}"/>
              </a:ext>
            </a:extLst>
          </p:cNvPr>
          <p:cNvSpPr/>
          <p:nvPr userDrawn="1"/>
        </p:nvSpPr>
        <p:spPr>
          <a:xfrm>
            <a:off x="1056011" y="3429000"/>
            <a:ext cx="1387784" cy="1577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6ED8CEE4-C68F-B13C-57D6-A9A25E4D356F}"/>
              </a:ext>
            </a:extLst>
          </p:cNvPr>
          <p:cNvSpPr txBox="1"/>
          <p:nvPr userDrawn="1"/>
        </p:nvSpPr>
        <p:spPr>
          <a:xfrm>
            <a:off x="1056000" y="2694383"/>
            <a:ext cx="1387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0" kern="1200" spc="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–3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29533A2B-6998-91C5-7B61-80587027BDD6}"/>
              </a:ext>
            </a:extLst>
          </p:cNvPr>
          <p:cNvSpPr txBox="1"/>
          <p:nvPr userDrawn="1"/>
        </p:nvSpPr>
        <p:spPr>
          <a:xfrm>
            <a:off x="944746" y="3894344"/>
            <a:ext cx="16102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kern="1200" spc="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ЛЯ ВСЕХ ЦЕЛЕВЫХ АУДИТОРИЙ</a:t>
            </a:r>
            <a:endParaRPr lang="ru-RU" sz="1200" b="1" spc="10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D3CEA350-F4D9-0489-8859-FB853EBC1D90}"/>
              </a:ext>
            </a:extLst>
          </p:cNvPr>
          <p:cNvSpPr txBox="1"/>
          <p:nvPr userDrawn="1"/>
        </p:nvSpPr>
        <p:spPr>
          <a:xfrm>
            <a:off x="5317052" y="1445618"/>
            <a:ext cx="151676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0" kern="1200" spc="600" dirty="0">
                <a:ln w="12700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ЛАЙДЫ</a:t>
            </a:r>
            <a:endParaRPr lang="ru-RU" sz="1500" b="0" spc="600" dirty="0">
              <a:ln w="12700" cap="sq">
                <a:solidFill>
                  <a:schemeClr val="tx1"/>
                </a:solidFill>
                <a:miter lim="800000"/>
              </a:ln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="" xmlns:a16="http://schemas.microsoft.com/office/drawing/2014/main" id="{27566ED1-67B1-20D4-3DD3-F7F09DFD07A1}"/>
              </a:ext>
            </a:extLst>
          </p:cNvPr>
          <p:cNvCxnSpPr>
            <a:cxnSpLocks/>
          </p:cNvCxnSpPr>
          <p:nvPr userDrawn="1"/>
        </p:nvCxnSpPr>
        <p:spPr>
          <a:xfrm>
            <a:off x="866827" y="1869513"/>
            <a:ext cx="1046520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F2D2499C-ED9D-64BC-A139-0C5F27D73D89}"/>
              </a:ext>
            </a:extLst>
          </p:cNvPr>
          <p:cNvCxnSpPr/>
          <p:nvPr userDrawn="1"/>
        </p:nvCxnSpPr>
        <p:spPr>
          <a:xfrm>
            <a:off x="866827" y="2171330"/>
            <a:ext cx="0" cy="4245346"/>
          </a:xfrm>
          <a:prstGeom prst="line">
            <a:avLst/>
          </a:prstGeom>
          <a:ln w="1905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="" xmlns:a16="http://schemas.microsoft.com/office/drawing/2014/main" id="{456F9D5E-A043-94B9-4179-6CDA556B9EDC}"/>
              </a:ext>
            </a:extLst>
          </p:cNvPr>
          <p:cNvCxnSpPr/>
          <p:nvPr userDrawn="1"/>
        </p:nvCxnSpPr>
        <p:spPr>
          <a:xfrm>
            <a:off x="2603029" y="2171330"/>
            <a:ext cx="0" cy="4245346"/>
          </a:xfrm>
          <a:prstGeom prst="line">
            <a:avLst/>
          </a:prstGeom>
          <a:ln w="1905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="" xmlns:a16="http://schemas.microsoft.com/office/drawing/2014/main" id="{B7B8192C-2A9E-9F36-E61C-4C6395197998}"/>
              </a:ext>
            </a:extLst>
          </p:cNvPr>
          <p:cNvCxnSpPr/>
          <p:nvPr userDrawn="1"/>
        </p:nvCxnSpPr>
        <p:spPr>
          <a:xfrm>
            <a:off x="4339231" y="2171330"/>
            <a:ext cx="0" cy="4245346"/>
          </a:xfrm>
          <a:prstGeom prst="line">
            <a:avLst/>
          </a:prstGeom>
          <a:ln w="1905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="" xmlns:a16="http://schemas.microsoft.com/office/drawing/2014/main" id="{82924CE0-BB58-1E70-98D2-643A5AA5199B}"/>
              </a:ext>
            </a:extLst>
          </p:cNvPr>
          <p:cNvCxnSpPr/>
          <p:nvPr userDrawn="1"/>
        </p:nvCxnSpPr>
        <p:spPr>
          <a:xfrm>
            <a:off x="6075433" y="2171330"/>
            <a:ext cx="0" cy="4245346"/>
          </a:xfrm>
          <a:prstGeom prst="line">
            <a:avLst/>
          </a:prstGeom>
          <a:ln w="1905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="" xmlns:a16="http://schemas.microsoft.com/office/drawing/2014/main" id="{1A3FCDBD-1311-EB87-C29A-8458552ADCB3}"/>
              </a:ext>
            </a:extLst>
          </p:cNvPr>
          <p:cNvCxnSpPr/>
          <p:nvPr userDrawn="1"/>
        </p:nvCxnSpPr>
        <p:spPr>
          <a:xfrm>
            <a:off x="7811635" y="2171330"/>
            <a:ext cx="0" cy="4245346"/>
          </a:xfrm>
          <a:prstGeom prst="line">
            <a:avLst/>
          </a:prstGeom>
          <a:ln w="1905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="" xmlns:a16="http://schemas.microsoft.com/office/drawing/2014/main" id="{DA19ABFF-2E4D-3CF7-2559-185440599E32}"/>
              </a:ext>
            </a:extLst>
          </p:cNvPr>
          <p:cNvCxnSpPr/>
          <p:nvPr userDrawn="1"/>
        </p:nvCxnSpPr>
        <p:spPr>
          <a:xfrm>
            <a:off x="9547837" y="2171330"/>
            <a:ext cx="0" cy="4245346"/>
          </a:xfrm>
          <a:prstGeom prst="line">
            <a:avLst/>
          </a:prstGeom>
          <a:ln w="1905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="" xmlns:a16="http://schemas.microsoft.com/office/drawing/2014/main" id="{80BA1A37-6F0F-69B8-4EFC-F68D43FFA2B4}"/>
              </a:ext>
            </a:extLst>
          </p:cNvPr>
          <p:cNvCxnSpPr>
            <a:cxnSpLocks/>
          </p:cNvCxnSpPr>
          <p:nvPr userDrawn="1"/>
        </p:nvCxnSpPr>
        <p:spPr>
          <a:xfrm>
            <a:off x="11332029" y="2171330"/>
            <a:ext cx="0" cy="4245346"/>
          </a:xfrm>
          <a:prstGeom prst="line">
            <a:avLst/>
          </a:prstGeom>
          <a:ln w="19050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17E5E2E6-E74F-31CD-CCEE-09410830537D}"/>
              </a:ext>
            </a:extLst>
          </p:cNvPr>
          <p:cNvSpPr/>
          <p:nvPr userDrawn="1"/>
        </p:nvSpPr>
        <p:spPr>
          <a:xfrm>
            <a:off x="2794018" y="3429000"/>
            <a:ext cx="1387784" cy="1577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B62DF628-7776-BC79-22FE-C742945C14CE}"/>
              </a:ext>
            </a:extLst>
          </p:cNvPr>
          <p:cNvSpPr txBox="1"/>
          <p:nvPr userDrawn="1"/>
        </p:nvSpPr>
        <p:spPr>
          <a:xfrm>
            <a:off x="2641994" y="2694383"/>
            <a:ext cx="16918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0" kern="1200" spc="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3–64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66EA554B-558A-2E0A-3648-B7795CF78F90}"/>
              </a:ext>
            </a:extLst>
          </p:cNvPr>
          <p:cNvSpPr txBox="1"/>
          <p:nvPr userDrawn="1"/>
        </p:nvSpPr>
        <p:spPr>
          <a:xfrm>
            <a:off x="2695767" y="3894344"/>
            <a:ext cx="15842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kern="1200" spc="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ЛЯ ПРОИЗВОД-СТВЕННОГО ПЕРСОНАЛА</a:t>
            </a:r>
            <a:endParaRPr lang="ru-RU" sz="1200" b="1" spc="10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09224316-67FC-1340-45DD-906DD5FC9BB7}"/>
              </a:ext>
            </a:extLst>
          </p:cNvPr>
          <p:cNvSpPr/>
          <p:nvPr userDrawn="1"/>
        </p:nvSpPr>
        <p:spPr>
          <a:xfrm>
            <a:off x="4532025" y="3429000"/>
            <a:ext cx="1387784" cy="15779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FA014A8C-44A5-370C-B248-737270E41071}"/>
              </a:ext>
            </a:extLst>
          </p:cNvPr>
          <p:cNvSpPr txBox="1"/>
          <p:nvPr userDrawn="1"/>
        </p:nvSpPr>
        <p:spPr>
          <a:xfrm>
            <a:off x="4381806" y="2694383"/>
            <a:ext cx="16882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0" kern="1200" spc="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5–96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19641E10-F3BB-1BC2-E365-927084AD7304}"/>
              </a:ext>
            </a:extLst>
          </p:cNvPr>
          <p:cNvSpPr txBox="1"/>
          <p:nvPr userDrawn="1"/>
        </p:nvSpPr>
        <p:spPr>
          <a:xfrm>
            <a:off x="4304952" y="3894344"/>
            <a:ext cx="18419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kern="1200" spc="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ЛЯ СПЕЦИАЛИСТОВ И СЛУЖАЩИХ</a:t>
            </a:r>
            <a:endParaRPr lang="ru-RU" sz="1200" b="1" spc="10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EF10AB74-9CF7-FEFA-B87C-2EB955174EAA}"/>
              </a:ext>
            </a:extLst>
          </p:cNvPr>
          <p:cNvSpPr/>
          <p:nvPr userDrawn="1"/>
        </p:nvSpPr>
        <p:spPr>
          <a:xfrm>
            <a:off x="6244434" y="3429000"/>
            <a:ext cx="1387784" cy="15779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69C34096-073E-2BB6-B7B2-15B59278226B}"/>
              </a:ext>
            </a:extLst>
          </p:cNvPr>
          <p:cNvSpPr txBox="1"/>
          <p:nvPr userDrawn="1"/>
        </p:nvSpPr>
        <p:spPr>
          <a:xfrm>
            <a:off x="6096030" y="2694383"/>
            <a:ext cx="16845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0" kern="1200" spc="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7–128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1DFE3CC5-B1D9-C2F7-12DF-E5B43C818AAE}"/>
              </a:ext>
            </a:extLst>
          </p:cNvPr>
          <p:cNvSpPr txBox="1"/>
          <p:nvPr userDrawn="1"/>
        </p:nvSpPr>
        <p:spPr>
          <a:xfrm>
            <a:off x="6023884" y="3894344"/>
            <a:ext cx="18288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kern="1200" spc="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ЛЯ ИТ-</a:t>
            </a:r>
            <a:br>
              <a:rPr lang="ru-RU" sz="1200" b="1" kern="1200" spc="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b="1" kern="1200" spc="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ЕЦИАЛИСТОВ</a:t>
            </a:r>
            <a:endParaRPr lang="ru-RU" sz="1200" b="1" spc="10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9A319736-BE47-86E1-7D6E-46061736D8E0}"/>
              </a:ext>
            </a:extLst>
          </p:cNvPr>
          <p:cNvSpPr/>
          <p:nvPr userDrawn="1"/>
        </p:nvSpPr>
        <p:spPr>
          <a:xfrm>
            <a:off x="8008039" y="3429000"/>
            <a:ext cx="1387784" cy="15779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2979C0A2-3FE6-3427-643A-621187F47D07}"/>
              </a:ext>
            </a:extLst>
          </p:cNvPr>
          <p:cNvSpPr txBox="1"/>
          <p:nvPr userDrawn="1"/>
        </p:nvSpPr>
        <p:spPr>
          <a:xfrm>
            <a:off x="7795276" y="2694383"/>
            <a:ext cx="18132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0" kern="1200" spc="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9–160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7CCCE233-B919-6D27-5F9D-3B1BD3F15F7C}"/>
              </a:ext>
            </a:extLst>
          </p:cNvPr>
          <p:cNvSpPr txBox="1"/>
          <p:nvPr userDrawn="1"/>
        </p:nvSpPr>
        <p:spPr>
          <a:xfrm>
            <a:off x="7877876" y="3894344"/>
            <a:ext cx="16480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kern="1200" spc="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ЛЯ СТУДЕНТОВ</a:t>
            </a:r>
            <a:br>
              <a:rPr lang="ru-RU" sz="1200" b="1" kern="1200" spc="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b="1" kern="1200" spc="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МОЛОДЕЖИ</a:t>
            </a:r>
            <a:endParaRPr lang="ru-RU" sz="1200" b="1" spc="10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2F742CA8-EFDF-D15B-8941-778E2E0ADC5A}"/>
              </a:ext>
            </a:extLst>
          </p:cNvPr>
          <p:cNvSpPr/>
          <p:nvPr userDrawn="1"/>
        </p:nvSpPr>
        <p:spPr>
          <a:xfrm>
            <a:off x="9746047" y="3429000"/>
            <a:ext cx="1387784" cy="15779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081C63DC-3C91-15FB-EF98-F0B822F911BA}"/>
              </a:ext>
            </a:extLst>
          </p:cNvPr>
          <p:cNvSpPr txBox="1"/>
          <p:nvPr userDrawn="1"/>
        </p:nvSpPr>
        <p:spPr>
          <a:xfrm>
            <a:off x="9410348" y="2694383"/>
            <a:ext cx="20591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0" kern="1200" spc="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61–165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6DCF23DD-61E5-5734-4CF3-7517DEB48D37}"/>
              </a:ext>
            </a:extLst>
          </p:cNvPr>
          <p:cNvSpPr txBox="1"/>
          <p:nvPr userDrawn="1"/>
        </p:nvSpPr>
        <p:spPr>
          <a:xfrm>
            <a:off x="9595818" y="3894344"/>
            <a:ext cx="16882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kern="1200" spc="100" baseline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НСТРУКЦИЯ</a:t>
            </a:r>
            <a:endParaRPr lang="ru-RU" sz="1200" b="1" spc="10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3EDDAB06-BB7A-6ED0-46D6-A9117D5CDB99}"/>
              </a:ext>
            </a:extLst>
          </p:cNvPr>
          <p:cNvSpPr txBox="1"/>
          <p:nvPr userDrawn="1"/>
        </p:nvSpPr>
        <p:spPr>
          <a:xfrm>
            <a:off x="861315" y="5083519"/>
            <a:ext cx="17472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0" i="0" kern="1200" spc="0" baseline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ниверсальные слайды в цветах, подходящих для всех целевых аудиторий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BC541986-F9C7-329E-07C4-575B09657AF4}"/>
              </a:ext>
            </a:extLst>
          </p:cNvPr>
          <p:cNvSpPr txBox="1"/>
          <p:nvPr userDrawn="1"/>
        </p:nvSpPr>
        <p:spPr>
          <a:xfrm>
            <a:off x="2669270" y="5083519"/>
            <a:ext cx="16037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0" i="0" kern="1200" spc="0" baseline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лайды в цветах для целевой аудитории «Производственный персонал»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="" xmlns:a16="http://schemas.microsoft.com/office/drawing/2014/main" id="{DAEEAEB1-7471-9281-0BD5-D93AE60CCEA1}"/>
              </a:ext>
            </a:extLst>
          </p:cNvPr>
          <p:cNvSpPr txBox="1"/>
          <p:nvPr userDrawn="1"/>
        </p:nvSpPr>
        <p:spPr>
          <a:xfrm>
            <a:off x="4298097" y="5083519"/>
            <a:ext cx="18184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0" i="0" kern="1200" spc="0" baseline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лайды в цветах для целевой аудитории «Специалисты, служащие, инженерно-технические работники и руководители»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5AB1B57C-AC41-6054-4524-B85E83AF837B}"/>
              </a:ext>
            </a:extLst>
          </p:cNvPr>
          <p:cNvSpPr txBox="1"/>
          <p:nvPr userDrawn="1"/>
        </p:nvSpPr>
        <p:spPr>
          <a:xfrm>
            <a:off x="6123423" y="5083519"/>
            <a:ext cx="164022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0" i="0" kern="1200" spc="0" baseline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лайды в цветах для целевой аудитории</a:t>
            </a:r>
            <a:br>
              <a:rPr lang="ru-RU" sz="1000" b="0" i="0" kern="1200" spc="0" baseline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000" b="0" i="0" kern="1200" spc="0" baseline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«ИТ-специалисты»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39BDD89-C2A1-7B1A-4213-0B10D6BAC44C}"/>
              </a:ext>
            </a:extLst>
          </p:cNvPr>
          <p:cNvSpPr txBox="1"/>
          <p:nvPr userDrawn="1"/>
        </p:nvSpPr>
        <p:spPr>
          <a:xfrm>
            <a:off x="7836742" y="5083519"/>
            <a:ext cx="16859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0" i="0" kern="1200" spc="0" baseline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лайды в цветах для целевой аудитории «Студенты</a:t>
            </a:r>
            <a:br>
              <a:rPr lang="ru-RU" sz="1000" b="0" i="0" kern="1200" spc="0" baseline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000" b="0" i="0" kern="1200" spc="0" baseline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молодежь»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715CAB11-13B6-6567-5EB6-87437503D010}"/>
              </a:ext>
            </a:extLst>
          </p:cNvPr>
          <p:cNvSpPr txBox="1"/>
          <p:nvPr userDrawn="1"/>
        </p:nvSpPr>
        <p:spPr>
          <a:xfrm>
            <a:off x="9681858" y="5083519"/>
            <a:ext cx="14681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0" i="0" kern="1200" spc="0" baseline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роткое руководство</a:t>
            </a:r>
            <a:br>
              <a:rPr lang="ru-RU" sz="1000" b="0" i="0" kern="1200" spc="0" baseline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000" b="0" i="0" kern="1200" spc="0" baseline="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использованию шаблона</a:t>
            </a:r>
          </a:p>
        </p:txBody>
      </p:sp>
    </p:spTree>
    <p:extLst>
      <p:ext uri="{BB962C8B-B14F-4D97-AF65-F5344CB8AC3E}">
        <p14:creationId xmlns="" xmlns:p14="http://schemas.microsoft.com/office/powerpoint/2010/main" val="3793738629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ы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327C95A8-98BA-A0AA-0D0A-556CD40EF8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8836" y="2413001"/>
            <a:ext cx="10548451" cy="3571874"/>
          </a:xfrm>
        </p:spPr>
        <p:txBody>
          <a:bodyPr>
            <a:normAutofit/>
          </a:bodyPr>
          <a:lstStyle>
            <a:lvl1pPr marL="0" indent="0">
              <a:buNone/>
              <a:defRPr sz="1400" b="0" i="0" spc="0" baseline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b="0" i="0">
                <a:latin typeface="FSRAILWAY Book" panose="020B0503040504020204" pitchFamily="34" charset="0"/>
              </a:defRPr>
            </a:lvl2pPr>
            <a:lvl3pPr>
              <a:defRPr b="0" i="0">
                <a:latin typeface="FSRAILWAY Book" panose="020B0503040504020204" pitchFamily="34" charset="0"/>
              </a:defRPr>
            </a:lvl3pPr>
            <a:lvl4pPr>
              <a:defRPr b="0" i="0">
                <a:latin typeface="FSRAILWAY Book" panose="020B0503040504020204" pitchFamily="34" charset="0"/>
              </a:defRPr>
            </a:lvl4pPr>
            <a:lvl5pPr>
              <a:defRPr b="0" i="0">
                <a:latin typeface="FSRAILWAY Book" panose="020B0503040504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Текст 4">
            <a:extLst>
              <a:ext uri="{FF2B5EF4-FFF2-40B4-BE49-F238E27FC236}">
                <a16:creationId xmlns="" xmlns:a16="http://schemas.microsoft.com/office/drawing/2014/main" id="{450EED4A-789C-6887-9DDB-43DB7656F5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837" y="1675515"/>
            <a:ext cx="10548451" cy="53250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 b="0" i="0" spc="100" baseline="0">
                <a:ln cap="sq">
                  <a:solidFill>
                    <a:schemeClr val="tx1"/>
                  </a:solidFill>
                  <a:miter lim="800000"/>
                </a:ln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РОТКОЕ ДОПОЛНЕНИЕ</a:t>
            </a:r>
            <a:r>
              <a:rPr lang="en-US" dirty="0"/>
              <a:t> </a:t>
            </a:r>
            <a:r>
              <a:rPr lang="ru-RU" dirty="0"/>
              <a:t>К ЗАГОЛОВКУ</a:t>
            </a:r>
          </a:p>
        </p:txBody>
      </p:sp>
      <p:sp>
        <p:nvSpPr>
          <p:cNvPr id="8" name="Заголовок 7">
            <a:extLst>
              <a:ext uri="{FF2B5EF4-FFF2-40B4-BE49-F238E27FC236}">
                <a16:creationId xmlns="" xmlns:a16="http://schemas.microsoft.com/office/drawing/2014/main" id="{9A1A5A5D-4188-B060-B182-734973774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37" y="365125"/>
            <a:ext cx="7919551" cy="1325563"/>
          </a:xfrm>
        </p:spPr>
        <p:txBody>
          <a:bodyPr anchor="t">
            <a:normAutofit/>
          </a:bodyPr>
          <a:lstStyle>
            <a:lvl1pPr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/ </a:t>
            </a:r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ЗАГЛАВНЫЕ</a:t>
            </a:r>
            <a:br>
              <a:rPr lang="ru-RU" dirty="0"/>
            </a:br>
            <a:r>
              <a:rPr lang="ru-RU" dirty="0"/>
              <a:t>БУКВЫ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A74053E4-7187-28E6-175A-1F51FC9B9C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359" y="445892"/>
            <a:ext cx="2403475" cy="52301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0E0F742A-DAFE-3D4D-8EB7-9635C1DE52F7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81216838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рменная рамка №1 (мин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Прямая соединительная линия 24">
            <a:extLst>
              <a:ext uri="{FF2B5EF4-FFF2-40B4-BE49-F238E27FC236}">
                <a16:creationId xmlns="" xmlns:a16="http://schemas.microsoft.com/office/drawing/2014/main" id="{90384351-6772-5361-10DC-1E61230F01D4}"/>
              </a:ext>
            </a:extLst>
          </p:cNvPr>
          <p:cNvCxnSpPr>
            <a:cxnSpLocks/>
          </p:cNvCxnSpPr>
          <p:nvPr userDrawn="1"/>
        </p:nvCxnSpPr>
        <p:spPr>
          <a:xfrm rot="16200000" flipV="1">
            <a:off x="-362841" y="6435930"/>
            <a:ext cx="0" cy="373092"/>
          </a:xfrm>
          <a:prstGeom prst="line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CE7B5AE6-1808-720A-9EC5-624FD08C1991}"/>
              </a:ext>
            </a:extLst>
          </p:cNvPr>
          <p:cNvSpPr txBox="1"/>
          <p:nvPr userDrawn="1"/>
        </p:nvSpPr>
        <p:spPr>
          <a:xfrm>
            <a:off x="-2912012" y="6734009"/>
            <a:ext cx="285026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6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ИРМЕННАЯ</a:t>
            </a:r>
            <a:br>
              <a:rPr lang="ru-RU" sz="16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6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МКА №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пустимо горизонтальное перемещение до края рамки</a:t>
            </a:r>
          </a:p>
        </p:txBody>
      </p:sp>
      <p:sp>
        <p:nvSpPr>
          <p:cNvPr id="4" name="Текст 4">
            <a:extLst>
              <a:ext uri="{FF2B5EF4-FFF2-40B4-BE49-F238E27FC236}">
                <a16:creationId xmlns="" xmlns:a16="http://schemas.microsoft.com/office/drawing/2014/main" id="{3C453187-ECDD-7163-9B14-CE57967F96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837" y="1675515"/>
            <a:ext cx="5327163" cy="53250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 b="0" i="0" spc="100" baseline="0">
                <a:ln cap="sq">
                  <a:solidFill>
                    <a:schemeClr val="tx1"/>
                  </a:solidFill>
                  <a:miter lim="800000"/>
                </a:ln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РОТКОЕ ДОПОЛНЕНИЕ</a:t>
            </a:r>
            <a:r>
              <a:rPr lang="en-US" dirty="0"/>
              <a:t> </a:t>
            </a:r>
            <a:r>
              <a:rPr lang="ru-RU" dirty="0"/>
              <a:t>К ЗАГОЛОВКУ</a:t>
            </a:r>
          </a:p>
        </p:txBody>
      </p:sp>
      <p:sp>
        <p:nvSpPr>
          <p:cNvPr id="5" name="Заголовок 7">
            <a:extLst>
              <a:ext uri="{FF2B5EF4-FFF2-40B4-BE49-F238E27FC236}">
                <a16:creationId xmlns="" xmlns:a16="http://schemas.microsoft.com/office/drawing/2014/main" id="{FAB9B020-1B19-EBFB-65D9-19397C0866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37" y="365125"/>
            <a:ext cx="7919551" cy="1325563"/>
          </a:xfrm>
        </p:spPr>
        <p:txBody>
          <a:bodyPr anchor="t">
            <a:normAutofit/>
          </a:bodyPr>
          <a:lstStyle>
            <a:lvl1pPr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/ </a:t>
            </a:r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ЗАГЛАВНЫЕ</a:t>
            </a:r>
            <a:br>
              <a:rPr lang="ru-RU" dirty="0"/>
            </a:br>
            <a:r>
              <a:rPr lang="ru-RU" dirty="0"/>
              <a:t>БУКВЫ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F74422A4-0BAA-732C-1BE5-E8B2A018E0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359" y="445892"/>
            <a:ext cx="2403475" cy="523011"/>
          </a:xfrm>
          <a:prstGeom prst="rect">
            <a:avLst/>
          </a:prstGeom>
        </p:spPr>
      </p:pic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BFD75A81-7ADC-8C07-23D6-38260ED08086}"/>
              </a:ext>
            </a:extLst>
          </p:cNvPr>
          <p:cNvCxnSpPr>
            <a:cxnSpLocks/>
          </p:cNvCxnSpPr>
          <p:nvPr userDrawn="1"/>
        </p:nvCxnSpPr>
        <p:spPr>
          <a:xfrm>
            <a:off x="-5098061" y="6420126"/>
            <a:ext cx="17288688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Рисунок 21">
            <a:extLst>
              <a:ext uri="{FF2B5EF4-FFF2-40B4-BE49-F238E27FC236}">
                <a16:creationId xmlns="" xmlns:a16="http://schemas.microsoft.com/office/drawing/2014/main" id="{90653700-EC2B-0197-26D7-CA2CA2934F5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5100057" y="2440263"/>
            <a:ext cx="17296306" cy="3946300"/>
          </a:xfrm>
          <a:custGeom>
            <a:avLst/>
            <a:gdLst>
              <a:gd name="connsiteX0" fmla="*/ 0 w 12192000"/>
              <a:gd name="connsiteY0" fmla="*/ 0 h 3979863"/>
              <a:gd name="connsiteX1" fmla="*/ 12192000 w 12192000"/>
              <a:gd name="connsiteY1" fmla="*/ 0 h 3979863"/>
              <a:gd name="connsiteX2" fmla="*/ 12192000 w 12192000"/>
              <a:gd name="connsiteY2" fmla="*/ 3979863 h 3979863"/>
              <a:gd name="connsiteX3" fmla="*/ 0 w 12192000"/>
              <a:gd name="connsiteY3" fmla="*/ 3979863 h 3979863"/>
              <a:gd name="connsiteX4" fmla="*/ 0 w 12192000"/>
              <a:gd name="connsiteY4" fmla="*/ 0 h 3979863"/>
              <a:gd name="connsiteX0" fmla="*/ 0 w 12192000"/>
              <a:gd name="connsiteY0" fmla="*/ 33 h 3979896"/>
              <a:gd name="connsiteX1" fmla="*/ 4496586 w 12192000"/>
              <a:gd name="connsiteY1" fmla="*/ 0 h 3979896"/>
              <a:gd name="connsiteX2" fmla="*/ 12192000 w 12192000"/>
              <a:gd name="connsiteY2" fmla="*/ 33 h 3979896"/>
              <a:gd name="connsiteX3" fmla="*/ 12192000 w 12192000"/>
              <a:gd name="connsiteY3" fmla="*/ 3979896 h 3979896"/>
              <a:gd name="connsiteX4" fmla="*/ 0 w 12192000"/>
              <a:gd name="connsiteY4" fmla="*/ 3979896 h 3979896"/>
              <a:gd name="connsiteX5" fmla="*/ 0 w 12192000"/>
              <a:gd name="connsiteY5" fmla="*/ 33 h 3979896"/>
              <a:gd name="connsiteX0" fmla="*/ 0 w 12192000"/>
              <a:gd name="connsiteY0" fmla="*/ 0 h 3979863"/>
              <a:gd name="connsiteX1" fmla="*/ 4493377 w 12192000"/>
              <a:gd name="connsiteY1" fmla="*/ 186056 h 3979863"/>
              <a:gd name="connsiteX2" fmla="*/ 12192000 w 12192000"/>
              <a:gd name="connsiteY2" fmla="*/ 0 h 3979863"/>
              <a:gd name="connsiteX3" fmla="*/ 12192000 w 12192000"/>
              <a:gd name="connsiteY3" fmla="*/ 3979863 h 3979863"/>
              <a:gd name="connsiteX4" fmla="*/ 0 w 12192000"/>
              <a:gd name="connsiteY4" fmla="*/ 3979863 h 3979863"/>
              <a:gd name="connsiteX5" fmla="*/ 0 w 12192000"/>
              <a:gd name="connsiteY5" fmla="*/ 0 h 3979863"/>
              <a:gd name="connsiteX0" fmla="*/ 0 w 12192000"/>
              <a:gd name="connsiteY0" fmla="*/ 0 h 3979863"/>
              <a:gd name="connsiteX1" fmla="*/ 4509419 w 12192000"/>
              <a:gd name="connsiteY1" fmla="*/ 9593 h 3979863"/>
              <a:gd name="connsiteX2" fmla="*/ 12192000 w 12192000"/>
              <a:gd name="connsiteY2" fmla="*/ 0 h 3979863"/>
              <a:gd name="connsiteX3" fmla="*/ 12192000 w 12192000"/>
              <a:gd name="connsiteY3" fmla="*/ 3979863 h 3979863"/>
              <a:gd name="connsiteX4" fmla="*/ 0 w 12192000"/>
              <a:gd name="connsiteY4" fmla="*/ 3979863 h 3979863"/>
              <a:gd name="connsiteX5" fmla="*/ 0 w 12192000"/>
              <a:gd name="connsiteY5" fmla="*/ 0 h 3979863"/>
              <a:gd name="connsiteX0" fmla="*/ 0 w 12192000"/>
              <a:gd name="connsiteY0" fmla="*/ 41742 h 4021605"/>
              <a:gd name="connsiteX1" fmla="*/ 4503002 w 12192000"/>
              <a:gd name="connsiteY1" fmla="*/ 0 h 4021605"/>
              <a:gd name="connsiteX2" fmla="*/ 12192000 w 12192000"/>
              <a:gd name="connsiteY2" fmla="*/ 41742 h 4021605"/>
              <a:gd name="connsiteX3" fmla="*/ 12192000 w 12192000"/>
              <a:gd name="connsiteY3" fmla="*/ 4021605 h 4021605"/>
              <a:gd name="connsiteX4" fmla="*/ 0 w 12192000"/>
              <a:gd name="connsiteY4" fmla="*/ 4021605 h 4021605"/>
              <a:gd name="connsiteX5" fmla="*/ 0 w 12192000"/>
              <a:gd name="connsiteY5" fmla="*/ 41742 h 4021605"/>
              <a:gd name="connsiteX0" fmla="*/ 0 w 12192000"/>
              <a:gd name="connsiteY0" fmla="*/ 0 h 3979863"/>
              <a:gd name="connsiteX1" fmla="*/ 4503002 w 12192000"/>
              <a:gd name="connsiteY1" fmla="*/ 9592 h 3979863"/>
              <a:gd name="connsiteX2" fmla="*/ 12192000 w 12192000"/>
              <a:gd name="connsiteY2" fmla="*/ 0 h 3979863"/>
              <a:gd name="connsiteX3" fmla="*/ 12192000 w 12192000"/>
              <a:gd name="connsiteY3" fmla="*/ 3979863 h 3979863"/>
              <a:gd name="connsiteX4" fmla="*/ 0 w 12192000"/>
              <a:gd name="connsiteY4" fmla="*/ 3979863 h 3979863"/>
              <a:gd name="connsiteX5" fmla="*/ 0 w 12192000"/>
              <a:gd name="connsiteY5" fmla="*/ 0 h 3979863"/>
              <a:gd name="connsiteX0" fmla="*/ 0 w 12192000"/>
              <a:gd name="connsiteY0" fmla="*/ 0 h 3979863"/>
              <a:gd name="connsiteX1" fmla="*/ 1737865 w 12192000"/>
              <a:gd name="connsiteY1" fmla="*/ 3691473 h 3979863"/>
              <a:gd name="connsiteX2" fmla="*/ 4503002 w 12192000"/>
              <a:gd name="connsiteY2" fmla="*/ 9592 h 3979863"/>
              <a:gd name="connsiteX3" fmla="*/ 12192000 w 12192000"/>
              <a:gd name="connsiteY3" fmla="*/ 0 h 3979863"/>
              <a:gd name="connsiteX4" fmla="*/ 12192000 w 12192000"/>
              <a:gd name="connsiteY4" fmla="*/ 3979863 h 3979863"/>
              <a:gd name="connsiteX5" fmla="*/ 0 w 12192000"/>
              <a:gd name="connsiteY5" fmla="*/ 3979863 h 3979863"/>
              <a:gd name="connsiteX6" fmla="*/ 0 w 12192000"/>
              <a:gd name="connsiteY6" fmla="*/ 0 h 3979863"/>
              <a:gd name="connsiteX0" fmla="*/ 55571 w 12192000"/>
              <a:gd name="connsiteY0" fmla="*/ 3692964 h 3979863"/>
              <a:gd name="connsiteX1" fmla="*/ 1737865 w 12192000"/>
              <a:gd name="connsiteY1" fmla="*/ 3691473 h 3979863"/>
              <a:gd name="connsiteX2" fmla="*/ 4503002 w 12192000"/>
              <a:gd name="connsiteY2" fmla="*/ 9592 h 3979863"/>
              <a:gd name="connsiteX3" fmla="*/ 12192000 w 12192000"/>
              <a:gd name="connsiteY3" fmla="*/ 0 h 3979863"/>
              <a:gd name="connsiteX4" fmla="*/ 12192000 w 12192000"/>
              <a:gd name="connsiteY4" fmla="*/ 3979863 h 3979863"/>
              <a:gd name="connsiteX5" fmla="*/ 0 w 12192000"/>
              <a:gd name="connsiteY5" fmla="*/ 3979863 h 3979863"/>
              <a:gd name="connsiteX6" fmla="*/ 55571 w 12192000"/>
              <a:gd name="connsiteY6" fmla="*/ 3692964 h 3979863"/>
              <a:gd name="connsiteX0" fmla="*/ 5052 w 12192000"/>
              <a:gd name="connsiteY0" fmla="*/ 3698016 h 3979863"/>
              <a:gd name="connsiteX1" fmla="*/ 1737865 w 12192000"/>
              <a:gd name="connsiteY1" fmla="*/ 3691473 h 3979863"/>
              <a:gd name="connsiteX2" fmla="*/ 4503002 w 12192000"/>
              <a:gd name="connsiteY2" fmla="*/ 9592 h 3979863"/>
              <a:gd name="connsiteX3" fmla="*/ 12192000 w 12192000"/>
              <a:gd name="connsiteY3" fmla="*/ 0 h 3979863"/>
              <a:gd name="connsiteX4" fmla="*/ 12192000 w 12192000"/>
              <a:gd name="connsiteY4" fmla="*/ 3979863 h 3979863"/>
              <a:gd name="connsiteX5" fmla="*/ 0 w 12192000"/>
              <a:gd name="connsiteY5" fmla="*/ 3979863 h 3979863"/>
              <a:gd name="connsiteX6" fmla="*/ 5052 w 12192000"/>
              <a:gd name="connsiteY6" fmla="*/ 3698016 h 3979863"/>
              <a:gd name="connsiteX0" fmla="*/ 0 w 12193672"/>
              <a:gd name="connsiteY0" fmla="*/ 3698016 h 3979863"/>
              <a:gd name="connsiteX1" fmla="*/ 1739537 w 12193672"/>
              <a:gd name="connsiteY1" fmla="*/ 3691473 h 3979863"/>
              <a:gd name="connsiteX2" fmla="*/ 4504674 w 12193672"/>
              <a:gd name="connsiteY2" fmla="*/ 9592 h 3979863"/>
              <a:gd name="connsiteX3" fmla="*/ 12193672 w 12193672"/>
              <a:gd name="connsiteY3" fmla="*/ 0 h 3979863"/>
              <a:gd name="connsiteX4" fmla="*/ 12193672 w 12193672"/>
              <a:gd name="connsiteY4" fmla="*/ 3979863 h 3979863"/>
              <a:gd name="connsiteX5" fmla="*/ 1672 w 12193672"/>
              <a:gd name="connsiteY5" fmla="*/ 3979863 h 3979863"/>
              <a:gd name="connsiteX6" fmla="*/ 0 w 12193672"/>
              <a:gd name="connsiteY6" fmla="*/ 3698016 h 3979863"/>
              <a:gd name="connsiteX0" fmla="*/ 156333 w 12192002"/>
              <a:gd name="connsiteY0" fmla="*/ 3832486 h 3979863"/>
              <a:gd name="connsiteX1" fmla="*/ 1737867 w 12192002"/>
              <a:gd name="connsiteY1" fmla="*/ 3691473 h 3979863"/>
              <a:gd name="connsiteX2" fmla="*/ 4503004 w 12192002"/>
              <a:gd name="connsiteY2" fmla="*/ 9592 h 3979863"/>
              <a:gd name="connsiteX3" fmla="*/ 12192002 w 12192002"/>
              <a:gd name="connsiteY3" fmla="*/ 0 h 3979863"/>
              <a:gd name="connsiteX4" fmla="*/ 12192002 w 12192002"/>
              <a:gd name="connsiteY4" fmla="*/ 3979863 h 3979863"/>
              <a:gd name="connsiteX5" fmla="*/ 2 w 12192002"/>
              <a:gd name="connsiteY5" fmla="*/ 3979863 h 3979863"/>
              <a:gd name="connsiteX6" fmla="*/ 156333 w 12192002"/>
              <a:gd name="connsiteY6" fmla="*/ 3832486 h 3979863"/>
              <a:gd name="connsiteX0" fmla="*/ 0 w 12193672"/>
              <a:gd name="connsiteY0" fmla="*/ 3694653 h 3979863"/>
              <a:gd name="connsiteX1" fmla="*/ 1739537 w 12193672"/>
              <a:gd name="connsiteY1" fmla="*/ 3691473 h 3979863"/>
              <a:gd name="connsiteX2" fmla="*/ 4504674 w 12193672"/>
              <a:gd name="connsiteY2" fmla="*/ 9592 h 3979863"/>
              <a:gd name="connsiteX3" fmla="*/ 12193672 w 12193672"/>
              <a:gd name="connsiteY3" fmla="*/ 0 h 3979863"/>
              <a:gd name="connsiteX4" fmla="*/ 12193672 w 12193672"/>
              <a:gd name="connsiteY4" fmla="*/ 3979863 h 3979863"/>
              <a:gd name="connsiteX5" fmla="*/ 1672 w 12193672"/>
              <a:gd name="connsiteY5" fmla="*/ 3979863 h 3979863"/>
              <a:gd name="connsiteX6" fmla="*/ 0 w 12193672"/>
              <a:gd name="connsiteY6" fmla="*/ 3694653 h 3979863"/>
              <a:gd name="connsiteX0" fmla="*/ 0 w 12193672"/>
              <a:gd name="connsiteY0" fmla="*/ 3694653 h 3979863"/>
              <a:gd name="connsiteX1" fmla="*/ 1692473 w 12193672"/>
              <a:gd name="connsiteY1" fmla="*/ 3614152 h 3979863"/>
              <a:gd name="connsiteX2" fmla="*/ 4504674 w 12193672"/>
              <a:gd name="connsiteY2" fmla="*/ 9592 h 3979863"/>
              <a:gd name="connsiteX3" fmla="*/ 12193672 w 12193672"/>
              <a:gd name="connsiteY3" fmla="*/ 0 h 3979863"/>
              <a:gd name="connsiteX4" fmla="*/ 12193672 w 12193672"/>
              <a:gd name="connsiteY4" fmla="*/ 3979863 h 3979863"/>
              <a:gd name="connsiteX5" fmla="*/ 1672 w 12193672"/>
              <a:gd name="connsiteY5" fmla="*/ 3979863 h 3979863"/>
              <a:gd name="connsiteX6" fmla="*/ 0 w 12193672"/>
              <a:gd name="connsiteY6" fmla="*/ 3694653 h 3979863"/>
              <a:gd name="connsiteX0" fmla="*/ 0 w 12193672"/>
              <a:gd name="connsiteY0" fmla="*/ 3694653 h 3979863"/>
              <a:gd name="connsiteX1" fmla="*/ 1739537 w 12193672"/>
              <a:gd name="connsiteY1" fmla="*/ 3691472 h 3979863"/>
              <a:gd name="connsiteX2" fmla="*/ 4504674 w 12193672"/>
              <a:gd name="connsiteY2" fmla="*/ 9592 h 3979863"/>
              <a:gd name="connsiteX3" fmla="*/ 12193672 w 12193672"/>
              <a:gd name="connsiteY3" fmla="*/ 0 h 3979863"/>
              <a:gd name="connsiteX4" fmla="*/ 12193672 w 12193672"/>
              <a:gd name="connsiteY4" fmla="*/ 3979863 h 3979863"/>
              <a:gd name="connsiteX5" fmla="*/ 1672 w 12193672"/>
              <a:gd name="connsiteY5" fmla="*/ 3979863 h 3979863"/>
              <a:gd name="connsiteX6" fmla="*/ 0 w 12193672"/>
              <a:gd name="connsiteY6" fmla="*/ 3694653 h 3979863"/>
              <a:gd name="connsiteX0" fmla="*/ 0 w 17294310"/>
              <a:gd name="connsiteY0" fmla="*/ 3694653 h 3979863"/>
              <a:gd name="connsiteX1" fmla="*/ 6840175 w 17294310"/>
              <a:gd name="connsiteY1" fmla="*/ 3691472 h 3979863"/>
              <a:gd name="connsiteX2" fmla="*/ 9605312 w 17294310"/>
              <a:gd name="connsiteY2" fmla="*/ 9592 h 3979863"/>
              <a:gd name="connsiteX3" fmla="*/ 17294310 w 17294310"/>
              <a:gd name="connsiteY3" fmla="*/ 0 h 3979863"/>
              <a:gd name="connsiteX4" fmla="*/ 17294310 w 17294310"/>
              <a:gd name="connsiteY4" fmla="*/ 3979863 h 3979863"/>
              <a:gd name="connsiteX5" fmla="*/ 5102310 w 17294310"/>
              <a:gd name="connsiteY5" fmla="*/ 3979863 h 3979863"/>
              <a:gd name="connsiteX6" fmla="*/ 0 w 17294310"/>
              <a:gd name="connsiteY6" fmla="*/ 3694653 h 3979863"/>
              <a:gd name="connsiteX0" fmla="*/ 0 w 17294310"/>
              <a:gd name="connsiteY0" fmla="*/ 3694653 h 3979863"/>
              <a:gd name="connsiteX1" fmla="*/ 6840175 w 17294310"/>
              <a:gd name="connsiteY1" fmla="*/ 3691472 h 3979863"/>
              <a:gd name="connsiteX2" fmla="*/ 9605312 w 17294310"/>
              <a:gd name="connsiteY2" fmla="*/ 9592 h 3979863"/>
              <a:gd name="connsiteX3" fmla="*/ 17294310 w 17294310"/>
              <a:gd name="connsiteY3" fmla="*/ 0 h 3979863"/>
              <a:gd name="connsiteX4" fmla="*/ 17294310 w 17294310"/>
              <a:gd name="connsiteY4" fmla="*/ 3979863 h 3979863"/>
              <a:gd name="connsiteX5" fmla="*/ 1672 w 17294310"/>
              <a:gd name="connsiteY5" fmla="*/ 3975100 h 3979863"/>
              <a:gd name="connsiteX6" fmla="*/ 0 w 17294310"/>
              <a:gd name="connsiteY6" fmla="*/ 3694653 h 3979863"/>
              <a:gd name="connsiteX0" fmla="*/ 0 w 17294310"/>
              <a:gd name="connsiteY0" fmla="*/ 3694653 h 3975100"/>
              <a:gd name="connsiteX1" fmla="*/ 6840175 w 17294310"/>
              <a:gd name="connsiteY1" fmla="*/ 3691472 h 3975100"/>
              <a:gd name="connsiteX2" fmla="*/ 9605312 w 17294310"/>
              <a:gd name="connsiteY2" fmla="*/ 9592 h 3975100"/>
              <a:gd name="connsiteX3" fmla="*/ 17294310 w 17294310"/>
              <a:gd name="connsiteY3" fmla="*/ 0 h 3975100"/>
              <a:gd name="connsiteX4" fmla="*/ 17294310 w 17294310"/>
              <a:gd name="connsiteY4" fmla="*/ 3943863 h 3975100"/>
              <a:gd name="connsiteX5" fmla="*/ 1672 w 17294310"/>
              <a:gd name="connsiteY5" fmla="*/ 3975100 h 3975100"/>
              <a:gd name="connsiteX6" fmla="*/ 0 w 17294310"/>
              <a:gd name="connsiteY6" fmla="*/ 3694653 h 3975100"/>
              <a:gd name="connsiteX0" fmla="*/ 1996 w 17296306"/>
              <a:gd name="connsiteY0" fmla="*/ 3694653 h 3946300"/>
              <a:gd name="connsiteX1" fmla="*/ 6842171 w 17296306"/>
              <a:gd name="connsiteY1" fmla="*/ 3691472 h 3946300"/>
              <a:gd name="connsiteX2" fmla="*/ 9607308 w 17296306"/>
              <a:gd name="connsiteY2" fmla="*/ 9592 h 3946300"/>
              <a:gd name="connsiteX3" fmla="*/ 17296306 w 17296306"/>
              <a:gd name="connsiteY3" fmla="*/ 0 h 3946300"/>
              <a:gd name="connsiteX4" fmla="*/ 17296306 w 17296306"/>
              <a:gd name="connsiteY4" fmla="*/ 3943863 h 3946300"/>
              <a:gd name="connsiteX5" fmla="*/ 68 w 17296306"/>
              <a:gd name="connsiteY5" fmla="*/ 3946300 h 3946300"/>
              <a:gd name="connsiteX6" fmla="*/ 1996 w 17296306"/>
              <a:gd name="connsiteY6" fmla="*/ 3694653 h 394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296306" h="3946300">
                <a:moveTo>
                  <a:pt x="1996" y="3694653"/>
                </a:moveTo>
                <a:lnTo>
                  <a:pt x="6842171" y="3691472"/>
                </a:lnTo>
                <a:lnTo>
                  <a:pt x="9607308" y="9592"/>
                </a:lnTo>
                <a:lnTo>
                  <a:pt x="17296306" y="0"/>
                </a:lnTo>
                <a:lnTo>
                  <a:pt x="17296306" y="3943863"/>
                </a:lnTo>
                <a:lnTo>
                  <a:pt x="68" y="3946300"/>
                </a:lnTo>
                <a:cubicBezTo>
                  <a:pt x="-489" y="3852351"/>
                  <a:pt x="2553" y="3788602"/>
                  <a:pt x="1996" y="3694653"/>
                </a:cubicBezTo>
                <a:close/>
              </a:path>
            </a:pathLst>
          </a:custGeom>
        </p:spPr>
        <p:txBody>
          <a:bodyPr anchor="ctr">
            <a:normAutofit/>
          </a:bodyPr>
          <a:lstStyle>
            <a:lvl1pPr marL="7938" indent="0" algn="ctr">
              <a:spcBef>
                <a:spcPts val="0"/>
              </a:spcBef>
              <a:buNone/>
              <a:tabLst/>
              <a:defRPr lang="ru-RU" sz="2400" b="0" i="0" u="none" kern="1200" spc="100" baseline="0">
                <a:ln w="9525" cap="sq">
                  <a:noFill/>
                  <a:miter lim="800000"/>
                </a:ln>
                <a:solidFill>
                  <a:schemeClr val="tx1"/>
                </a:solidFill>
                <a:highlight>
                  <a:srgbClr val="E5E5E5"/>
                </a:highligh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ВСТАВЬТЕ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A20491E2-8CA4-C2EA-DD92-A7BF4EAC3B60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5904039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рменная рамка №1 (макс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4">
            <a:extLst>
              <a:ext uri="{FF2B5EF4-FFF2-40B4-BE49-F238E27FC236}">
                <a16:creationId xmlns="" xmlns:a16="http://schemas.microsoft.com/office/drawing/2014/main" id="{C28951EE-88D0-5DE9-5787-FA894E554C6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8836" y="1824330"/>
            <a:ext cx="3563451" cy="160467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lang="ru-RU" sz="1400" b="0" i="0" kern="1200" spc="0" baseline="0" dirty="0" smtClean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0" name="Рисунок 39">
            <a:extLst>
              <a:ext uri="{FF2B5EF4-FFF2-40B4-BE49-F238E27FC236}">
                <a16:creationId xmlns="" xmlns:a16="http://schemas.microsoft.com/office/drawing/2014/main" id="{75B9B551-557E-0FC0-DABE-233D94A7C03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3944938" y="-1"/>
            <a:ext cx="16136938" cy="6738897"/>
          </a:xfrm>
          <a:custGeom>
            <a:avLst/>
            <a:gdLst>
              <a:gd name="connsiteX0" fmla="*/ 0 w 16136938"/>
              <a:gd name="connsiteY0" fmla="*/ 0 h 6858000"/>
              <a:gd name="connsiteX1" fmla="*/ 16136938 w 16136938"/>
              <a:gd name="connsiteY1" fmla="*/ 0 h 6858000"/>
              <a:gd name="connsiteX2" fmla="*/ 16136938 w 16136938"/>
              <a:gd name="connsiteY2" fmla="*/ 6858000 h 6858000"/>
              <a:gd name="connsiteX3" fmla="*/ 0 w 16136938"/>
              <a:gd name="connsiteY3" fmla="*/ 6858000 h 6858000"/>
              <a:gd name="connsiteX4" fmla="*/ 0 w 16136938"/>
              <a:gd name="connsiteY4" fmla="*/ 0 h 6858000"/>
              <a:gd name="connsiteX0" fmla="*/ 0 w 16136938"/>
              <a:gd name="connsiteY0" fmla="*/ 0 h 6858000"/>
              <a:gd name="connsiteX1" fmla="*/ 10421474 w 16136938"/>
              <a:gd name="connsiteY1" fmla="*/ 0 h 6858000"/>
              <a:gd name="connsiteX2" fmla="*/ 16136938 w 16136938"/>
              <a:gd name="connsiteY2" fmla="*/ 0 h 6858000"/>
              <a:gd name="connsiteX3" fmla="*/ 16136938 w 16136938"/>
              <a:gd name="connsiteY3" fmla="*/ 6858000 h 6858000"/>
              <a:gd name="connsiteX4" fmla="*/ 0 w 16136938"/>
              <a:gd name="connsiteY4" fmla="*/ 6858000 h 6858000"/>
              <a:gd name="connsiteX5" fmla="*/ 0 w 16136938"/>
              <a:gd name="connsiteY5" fmla="*/ 0 h 6858000"/>
              <a:gd name="connsiteX0" fmla="*/ 0 w 16136938"/>
              <a:gd name="connsiteY0" fmla="*/ 7 h 6858007"/>
              <a:gd name="connsiteX1" fmla="*/ 5645004 w 16136938"/>
              <a:gd name="connsiteY1" fmla="*/ 6266695 h 6858007"/>
              <a:gd name="connsiteX2" fmla="*/ 10421474 w 16136938"/>
              <a:gd name="connsiteY2" fmla="*/ 7 h 6858007"/>
              <a:gd name="connsiteX3" fmla="*/ 16136938 w 16136938"/>
              <a:gd name="connsiteY3" fmla="*/ 7 h 6858007"/>
              <a:gd name="connsiteX4" fmla="*/ 16136938 w 16136938"/>
              <a:gd name="connsiteY4" fmla="*/ 6858007 h 6858007"/>
              <a:gd name="connsiteX5" fmla="*/ 0 w 16136938"/>
              <a:gd name="connsiteY5" fmla="*/ 6858007 h 6858007"/>
              <a:gd name="connsiteX6" fmla="*/ 0 w 16136938"/>
              <a:gd name="connsiteY6" fmla="*/ 7 h 6858007"/>
              <a:gd name="connsiteX0" fmla="*/ 0 w 16136938"/>
              <a:gd name="connsiteY0" fmla="*/ 7 h 6858007"/>
              <a:gd name="connsiteX1" fmla="*/ 5616429 w 16136938"/>
              <a:gd name="connsiteY1" fmla="*/ 6415920 h 6858007"/>
              <a:gd name="connsiteX2" fmla="*/ 10421474 w 16136938"/>
              <a:gd name="connsiteY2" fmla="*/ 7 h 6858007"/>
              <a:gd name="connsiteX3" fmla="*/ 16136938 w 16136938"/>
              <a:gd name="connsiteY3" fmla="*/ 7 h 6858007"/>
              <a:gd name="connsiteX4" fmla="*/ 16136938 w 16136938"/>
              <a:gd name="connsiteY4" fmla="*/ 6858007 h 6858007"/>
              <a:gd name="connsiteX5" fmla="*/ 0 w 16136938"/>
              <a:gd name="connsiteY5" fmla="*/ 6858007 h 6858007"/>
              <a:gd name="connsiteX6" fmla="*/ 0 w 16136938"/>
              <a:gd name="connsiteY6" fmla="*/ 7 h 6858007"/>
              <a:gd name="connsiteX0" fmla="*/ 8709 w 16136938"/>
              <a:gd name="connsiteY0" fmla="*/ 6165669 h 6858000"/>
              <a:gd name="connsiteX1" fmla="*/ 5616429 w 16136938"/>
              <a:gd name="connsiteY1" fmla="*/ 6415913 h 6858000"/>
              <a:gd name="connsiteX2" fmla="*/ 10421474 w 16136938"/>
              <a:gd name="connsiteY2" fmla="*/ 0 h 6858000"/>
              <a:gd name="connsiteX3" fmla="*/ 16136938 w 16136938"/>
              <a:gd name="connsiteY3" fmla="*/ 0 h 6858000"/>
              <a:gd name="connsiteX4" fmla="*/ 16136938 w 16136938"/>
              <a:gd name="connsiteY4" fmla="*/ 6858000 h 6858000"/>
              <a:gd name="connsiteX5" fmla="*/ 0 w 16136938"/>
              <a:gd name="connsiteY5" fmla="*/ 6858000 h 6858000"/>
              <a:gd name="connsiteX6" fmla="*/ 8709 w 16136938"/>
              <a:gd name="connsiteY6" fmla="*/ 6165669 h 6858000"/>
              <a:gd name="connsiteX0" fmla="*/ 253184 w 16136938"/>
              <a:gd name="connsiteY0" fmla="*/ 6479994 h 6858000"/>
              <a:gd name="connsiteX1" fmla="*/ 5616429 w 16136938"/>
              <a:gd name="connsiteY1" fmla="*/ 6415913 h 6858000"/>
              <a:gd name="connsiteX2" fmla="*/ 10421474 w 16136938"/>
              <a:gd name="connsiteY2" fmla="*/ 0 h 6858000"/>
              <a:gd name="connsiteX3" fmla="*/ 16136938 w 16136938"/>
              <a:gd name="connsiteY3" fmla="*/ 0 h 6858000"/>
              <a:gd name="connsiteX4" fmla="*/ 16136938 w 16136938"/>
              <a:gd name="connsiteY4" fmla="*/ 6858000 h 6858000"/>
              <a:gd name="connsiteX5" fmla="*/ 0 w 16136938"/>
              <a:gd name="connsiteY5" fmla="*/ 6858000 h 6858000"/>
              <a:gd name="connsiteX6" fmla="*/ 253184 w 16136938"/>
              <a:gd name="connsiteY6" fmla="*/ 6479994 h 6858000"/>
              <a:gd name="connsiteX0" fmla="*/ 2359 w 16136938"/>
              <a:gd name="connsiteY0" fmla="*/ 6419669 h 6858000"/>
              <a:gd name="connsiteX1" fmla="*/ 5616429 w 16136938"/>
              <a:gd name="connsiteY1" fmla="*/ 6415913 h 6858000"/>
              <a:gd name="connsiteX2" fmla="*/ 10421474 w 16136938"/>
              <a:gd name="connsiteY2" fmla="*/ 0 h 6858000"/>
              <a:gd name="connsiteX3" fmla="*/ 16136938 w 16136938"/>
              <a:gd name="connsiteY3" fmla="*/ 0 h 6858000"/>
              <a:gd name="connsiteX4" fmla="*/ 16136938 w 16136938"/>
              <a:gd name="connsiteY4" fmla="*/ 6858000 h 6858000"/>
              <a:gd name="connsiteX5" fmla="*/ 0 w 16136938"/>
              <a:gd name="connsiteY5" fmla="*/ 6858000 h 6858000"/>
              <a:gd name="connsiteX6" fmla="*/ 2359 w 16136938"/>
              <a:gd name="connsiteY6" fmla="*/ 6419669 h 6858000"/>
              <a:gd name="connsiteX0" fmla="*/ 2359 w 16136938"/>
              <a:gd name="connsiteY0" fmla="*/ 6419669 h 6858000"/>
              <a:gd name="connsiteX1" fmla="*/ 5616429 w 16136938"/>
              <a:gd name="connsiteY1" fmla="*/ 6415913 h 6858000"/>
              <a:gd name="connsiteX2" fmla="*/ 10421474 w 16136938"/>
              <a:gd name="connsiteY2" fmla="*/ 0 h 6858000"/>
              <a:gd name="connsiteX3" fmla="*/ 16136938 w 16136938"/>
              <a:gd name="connsiteY3" fmla="*/ 0 h 6858000"/>
              <a:gd name="connsiteX4" fmla="*/ 16136938 w 16136938"/>
              <a:gd name="connsiteY4" fmla="*/ 6738897 h 6858000"/>
              <a:gd name="connsiteX5" fmla="*/ 0 w 16136938"/>
              <a:gd name="connsiteY5" fmla="*/ 6858000 h 6858000"/>
              <a:gd name="connsiteX6" fmla="*/ 2359 w 16136938"/>
              <a:gd name="connsiteY6" fmla="*/ 6419669 h 6858000"/>
              <a:gd name="connsiteX0" fmla="*/ 2359 w 16136938"/>
              <a:gd name="connsiteY0" fmla="*/ 6419669 h 6738897"/>
              <a:gd name="connsiteX1" fmla="*/ 5616429 w 16136938"/>
              <a:gd name="connsiteY1" fmla="*/ 6415913 h 6738897"/>
              <a:gd name="connsiteX2" fmla="*/ 10421474 w 16136938"/>
              <a:gd name="connsiteY2" fmla="*/ 0 h 6738897"/>
              <a:gd name="connsiteX3" fmla="*/ 16136938 w 16136938"/>
              <a:gd name="connsiteY3" fmla="*/ 0 h 6738897"/>
              <a:gd name="connsiteX4" fmla="*/ 16136938 w 16136938"/>
              <a:gd name="connsiteY4" fmla="*/ 6738897 h 6738897"/>
              <a:gd name="connsiteX5" fmla="*/ 0 w 16136938"/>
              <a:gd name="connsiteY5" fmla="*/ 6738897 h 6738897"/>
              <a:gd name="connsiteX6" fmla="*/ 2359 w 16136938"/>
              <a:gd name="connsiteY6" fmla="*/ 6419669 h 6738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136938" h="6738897">
                <a:moveTo>
                  <a:pt x="2359" y="6419669"/>
                </a:moveTo>
                <a:lnTo>
                  <a:pt x="5616429" y="6415913"/>
                </a:lnTo>
                <a:lnTo>
                  <a:pt x="10421474" y="0"/>
                </a:lnTo>
                <a:lnTo>
                  <a:pt x="16136938" y="0"/>
                </a:lnTo>
                <a:lnTo>
                  <a:pt x="16136938" y="6738897"/>
                </a:lnTo>
                <a:lnTo>
                  <a:pt x="0" y="6738897"/>
                </a:lnTo>
                <a:cubicBezTo>
                  <a:pt x="786" y="6592787"/>
                  <a:pt x="1573" y="6565779"/>
                  <a:pt x="2359" y="6419669"/>
                </a:cubicBezTo>
                <a:close/>
              </a:path>
            </a:pathLst>
          </a:custGeom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sz="2400" u="none" kern="1200" spc="100" baseline="0">
                <a:ln cap="sq">
                  <a:noFill/>
                  <a:miter lim="800000"/>
                </a:ln>
                <a:solidFill>
                  <a:schemeClr val="tx1"/>
                </a:solidFill>
                <a:highlight>
                  <a:srgbClr val="E5E5E5"/>
                </a:highligh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ВСТАВЬТЕ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="" xmlns:a16="http://schemas.microsoft.com/office/drawing/2014/main" id="{A8789DA2-17B1-AC79-A6C2-F48069E8BB38}"/>
              </a:ext>
            </a:extLst>
          </p:cNvPr>
          <p:cNvCxnSpPr>
            <a:cxnSpLocks/>
          </p:cNvCxnSpPr>
          <p:nvPr userDrawn="1"/>
        </p:nvCxnSpPr>
        <p:spPr>
          <a:xfrm rot="16200000" flipV="1">
            <a:off x="-362841" y="6931876"/>
            <a:ext cx="0" cy="373092"/>
          </a:xfrm>
          <a:prstGeom prst="line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750A8688-AB4E-BC89-A5FA-1616296F7248}"/>
              </a:ext>
            </a:extLst>
          </p:cNvPr>
          <p:cNvSpPr txBox="1"/>
          <p:nvPr userDrawn="1"/>
        </p:nvSpPr>
        <p:spPr>
          <a:xfrm>
            <a:off x="-2912012" y="7229955"/>
            <a:ext cx="285026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6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ИРМЕННАЯ</a:t>
            </a:r>
            <a:br>
              <a:rPr lang="ru-RU" sz="16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6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МКА №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пустимо горизонтальное перемещение до края рамки</a:t>
            </a:r>
          </a:p>
        </p:txBody>
      </p:sp>
      <p:sp>
        <p:nvSpPr>
          <p:cNvPr id="2" name="Заголовок 7">
            <a:extLst>
              <a:ext uri="{FF2B5EF4-FFF2-40B4-BE49-F238E27FC236}">
                <a16:creationId xmlns="" xmlns:a16="http://schemas.microsoft.com/office/drawing/2014/main" id="{EFC5C786-A874-9BED-6876-C6EF26ED4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37" y="365125"/>
            <a:ext cx="6190763" cy="1325563"/>
          </a:xfrm>
        </p:spPr>
        <p:txBody>
          <a:bodyPr anchor="t">
            <a:normAutofit/>
          </a:bodyPr>
          <a:lstStyle>
            <a:lvl1pPr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/ </a:t>
            </a:r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ЗАГЛАВНЫЕ БУКВЫ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0EC23BCF-C994-26DB-72B2-503670BAA6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359" y="445892"/>
            <a:ext cx="2403475" cy="52301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9AA1E012-527C-348A-4AB8-0AAD3722A3C3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1118504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рменная рамка №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327C95A8-98BA-A0AA-0D0A-556CD40EF8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8837" y="2727169"/>
            <a:ext cx="5327164" cy="3257705"/>
          </a:xfrm>
        </p:spPr>
        <p:txBody>
          <a:bodyPr>
            <a:normAutofit/>
          </a:bodyPr>
          <a:lstStyle>
            <a:lvl1pPr marL="0" indent="0">
              <a:buNone/>
              <a:defRPr sz="1400" b="0" i="0" spc="0" baseline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b="0" i="0">
                <a:latin typeface="FSRAILWAY Book" panose="020B0503040504020204" pitchFamily="34" charset="0"/>
              </a:defRPr>
            </a:lvl2pPr>
            <a:lvl3pPr>
              <a:defRPr b="0" i="0">
                <a:latin typeface="FSRAILWAY Book" panose="020B0503040504020204" pitchFamily="34" charset="0"/>
              </a:defRPr>
            </a:lvl3pPr>
            <a:lvl4pPr>
              <a:defRPr b="0" i="0">
                <a:latin typeface="FSRAILWAY Book" panose="020B0503040504020204" pitchFamily="34" charset="0"/>
              </a:defRPr>
            </a:lvl4pPr>
            <a:lvl5pPr>
              <a:defRPr b="0" i="0">
                <a:latin typeface="FSRAILWAY Book" panose="020B0503040504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Текст 4">
            <a:extLst>
              <a:ext uri="{FF2B5EF4-FFF2-40B4-BE49-F238E27FC236}">
                <a16:creationId xmlns="" xmlns:a16="http://schemas.microsoft.com/office/drawing/2014/main" id="{450EED4A-789C-6887-9DDB-43DB7656F5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837" y="1675515"/>
            <a:ext cx="7919551" cy="53250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 b="0" i="0" spc="100" baseline="0">
                <a:ln cap="sq">
                  <a:solidFill>
                    <a:schemeClr val="tx1"/>
                  </a:solidFill>
                  <a:miter lim="800000"/>
                </a:ln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РОТКОЕ ДОПОЛНЕНИЕ</a:t>
            </a:r>
            <a:r>
              <a:rPr lang="en-US" dirty="0"/>
              <a:t> </a:t>
            </a:r>
            <a:r>
              <a:rPr lang="ru-RU" dirty="0"/>
              <a:t>К ЗАГОЛОВКУ</a:t>
            </a:r>
          </a:p>
        </p:txBody>
      </p:sp>
      <p:sp>
        <p:nvSpPr>
          <p:cNvPr id="8" name="Заголовок 7">
            <a:extLst>
              <a:ext uri="{FF2B5EF4-FFF2-40B4-BE49-F238E27FC236}">
                <a16:creationId xmlns="" xmlns:a16="http://schemas.microsoft.com/office/drawing/2014/main" id="{9A1A5A5D-4188-B060-B182-734973774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37" y="365125"/>
            <a:ext cx="7919551" cy="1325563"/>
          </a:xfrm>
        </p:spPr>
        <p:txBody>
          <a:bodyPr anchor="t">
            <a:normAutofit/>
          </a:bodyPr>
          <a:lstStyle>
            <a:lvl1pPr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/ </a:t>
            </a:r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ЗАГЛАВНЫЕ</a:t>
            </a:r>
            <a:br>
              <a:rPr lang="ru-RU" dirty="0"/>
            </a:br>
            <a:r>
              <a:rPr lang="ru-RU" dirty="0"/>
              <a:t>БУКВЫ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F70D2720-3C7B-ACA7-1119-BDD95ED482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359" y="445892"/>
            <a:ext cx="2403475" cy="52301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52341C5D-D092-BD78-2458-C361E99169E8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99750158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рменная рамка №3 (сверх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>
            <a:extLst>
              <a:ext uri="{FF2B5EF4-FFF2-40B4-BE49-F238E27FC236}">
                <a16:creationId xmlns="" xmlns:a16="http://schemas.microsoft.com/office/drawing/2014/main" id="{8D249FA6-1C5B-C018-CFE8-6B45EF889927}"/>
              </a:ext>
            </a:extLst>
          </p:cNvPr>
          <p:cNvGrpSpPr/>
          <p:nvPr userDrawn="1"/>
        </p:nvGrpSpPr>
        <p:grpSpPr>
          <a:xfrm>
            <a:off x="442913" y="4480109"/>
            <a:ext cx="2503213" cy="1936566"/>
            <a:chOff x="704576" y="4524928"/>
            <a:chExt cx="2503213" cy="1936566"/>
          </a:xfrm>
          <a:solidFill>
            <a:schemeClr val="bg1">
              <a:lumMod val="85000"/>
            </a:schemeClr>
          </a:solidFill>
        </p:grpSpPr>
        <p:sp>
          <p:nvSpPr>
            <p:cNvPr id="12" name="Прямоугольник 2">
              <a:extLst>
                <a:ext uri="{FF2B5EF4-FFF2-40B4-BE49-F238E27FC236}">
                  <a16:creationId xmlns="" xmlns:a16="http://schemas.microsoft.com/office/drawing/2014/main" id="{404DDBEE-618F-CFE8-833F-0B6B42A6E11A}"/>
                </a:ext>
              </a:extLst>
            </p:cNvPr>
            <p:cNvSpPr/>
            <p:nvPr/>
          </p:nvSpPr>
          <p:spPr>
            <a:xfrm>
              <a:off x="704576" y="4902384"/>
              <a:ext cx="1196363" cy="1129083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7585" h="3659521">
                  <a:moveTo>
                    <a:pt x="2728586" y="6299"/>
                  </a:moveTo>
                  <a:lnTo>
                    <a:pt x="3877585" y="0"/>
                  </a:lnTo>
                  <a:lnTo>
                    <a:pt x="1123178" y="3654851"/>
                  </a:lnTo>
                  <a:lnTo>
                    <a:pt x="0" y="3659521"/>
                  </a:lnTo>
                  <a:lnTo>
                    <a:pt x="2728586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Прямоугольник 2">
              <a:extLst>
                <a:ext uri="{FF2B5EF4-FFF2-40B4-BE49-F238E27FC236}">
                  <a16:creationId xmlns="" xmlns:a16="http://schemas.microsoft.com/office/drawing/2014/main" id="{A4FACEA0-A12E-41F6-6849-883AC2BA0BFB}"/>
                </a:ext>
              </a:extLst>
            </p:cNvPr>
            <p:cNvSpPr/>
            <p:nvPr/>
          </p:nvSpPr>
          <p:spPr>
            <a:xfrm>
              <a:off x="836438" y="4524928"/>
              <a:ext cx="761193" cy="757240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8626" h="3659521">
                  <a:moveTo>
                    <a:pt x="2747535" y="6299"/>
                  </a:moveTo>
                  <a:lnTo>
                    <a:pt x="3678626" y="0"/>
                  </a:lnTo>
                  <a:lnTo>
                    <a:pt x="952642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" name="Прямоугольник 2">
              <a:extLst>
                <a:ext uri="{FF2B5EF4-FFF2-40B4-BE49-F238E27FC236}">
                  <a16:creationId xmlns="" xmlns:a16="http://schemas.microsoft.com/office/drawing/2014/main" id="{513D9247-4667-C9CC-FA8C-E6EA574DEBBF}"/>
                </a:ext>
              </a:extLst>
            </p:cNvPr>
            <p:cNvSpPr/>
            <p:nvPr/>
          </p:nvSpPr>
          <p:spPr>
            <a:xfrm>
              <a:off x="1129149" y="5900630"/>
              <a:ext cx="704655" cy="56086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  <a:gd name="connsiteX0" fmla="*/ 2747535 w 2747536"/>
                <a:gd name="connsiteY0" fmla="*/ 0 h 3653222"/>
                <a:gd name="connsiteX1" fmla="*/ 1571399 w 2747536"/>
                <a:gd name="connsiteY1" fmla="*/ 2477526 h 3653222"/>
                <a:gd name="connsiteX2" fmla="*/ 782106 w 2747536"/>
                <a:gd name="connsiteY2" fmla="*/ 3648552 h 3653222"/>
                <a:gd name="connsiteX3" fmla="*/ 0 w 2747536"/>
                <a:gd name="connsiteY3" fmla="*/ 3653222 h 3653222"/>
                <a:gd name="connsiteX4" fmla="*/ 2747535 w 2747536"/>
                <a:gd name="connsiteY4" fmla="*/ 0 h 3653222"/>
                <a:gd name="connsiteX0" fmla="*/ 1245081 w 1571399"/>
                <a:gd name="connsiteY0" fmla="*/ 0 h 1178081"/>
                <a:gd name="connsiteX1" fmla="*/ 1571399 w 1571399"/>
                <a:gd name="connsiteY1" fmla="*/ 2385 h 1178081"/>
                <a:gd name="connsiteX2" fmla="*/ 782106 w 1571399"/>
                <a:gd name="connsiteY2" fmla="*/ 1173411 h 1178081"/>
                <a:gd name="connsiteX3" fmla="*/ 0 w 1571399"/>
                <a:gd name="connsiteY3" fmla="*/ 1178081 h 1178081"/>
                <a:gd name="connsiteX4" fmla="*/ 1245081 w 1571399"/>
                <a:gd name="connsiteY4" fmla="*/ 0 h 1178081"/>
                <a:gd name="connsiteX0" fmla="*/ 1149549 w 1571399"/>
                <a:gd name="connsiteY0" fmla="*/ 0 h 1516785"/>
                <a:gd name="connsiteX1" fmla="*/ 1571399 w 1571399"/>
                <a:gd name="connsiteY1" fmla="*/ 341089 h 1516785"/>
                <a:gd name="connsiteX2" fmla="*/ 782106 w 1571399"/>
                <a:gd name="connsiteY2" fmla="*/ 1512115 h 1516785"/>
                <a:gd name="connsiteX3" fmla="*/ 0 w 1571399"/>
                <a:gd name="connsiteY3" fmla="*/ 1516785 h 1516785"/>
                <a:gd name="connsiteX4" fmla="*/ 1149549 w 1571399"/>
                <a:gd name="connsiteY4" fmla="*/ 0 h 1516785"/>
                <a:gd name="connsiteX0" fmla="*/ 1149549 w 1901418"/>
                <a:gd name="connsiteY0" fmla="*/ 6299 h 1523084"/>
                <a:gd name="connsiteX1" fmla="*/ 1901418 w 1901418"/>
                <a:gd name="connsiteY1" fmla="*/ 0 h 1523084"/>
                <a:gd name="connsiteX2" fmla="*/ 782106 w 1901418"/>
                <a:gd name="connsiteY2" fmla="*/ 1518414 h 1523084"/>
                <a:gd name="connsiteX3" fmla="*/ 0 w 1901418"/>
                <a:gd name="connsiteY3" fmla="*/ 1523084 h 1523084"/>
                <a:gd name="connsiteX4" fmla="*/ 1149549 w 1901418"/>
                <a:gd name="connsiteY4" fmla="*/ 6299 h 1523084"/>
                <a:gd name="connsiteX0" fmla="*/ 1158234 w 1901418"/>
                <a:gd name="connsiteY0" fmla="*/ 0 h 1690479"/>
                <a:gd name="connsiteX1" fmla="*/ 1901418 w 1901418"/>
                <a:gd name="connsiteY1" fmla="*/ 167395 h 1690479"/>
                <a:gd name="connsiteX2" fmla="*/ 782106 w 1901418"/>
                <a:gd name="connsiteY2" fmla="*/ 1685809 h 1690479"/>
                <a:gd name="connsiteX3" fmla="*/ 0 w 1901418"/>
                <a:gd name="connsiteY3" fmla="*/ 1690479 h 1690479"/>
                <a:gd name="connsiteX4" fmla="*/ 1158234 w 1901418"/>
                <a:gd name="connsiteY4" fmla="*/ 0 h 1690479"/>
                <a:gd name="connsiteX0" fmla="*/ 1210342 w 1901418"/>
                <a:gd name="connsiteY0" fmla="*/ 214732 h 1523084"/>
                <a:gd name="connsiteX1" fmla="*/ 1901418 w 1901418"/>
                <a:gd name="connsiteY1" fmla="*/ 0 h 1523084"/>
                <a:gd name="connsiteX2" fmla="*/ 782106 w 1901418"/>
                <a:gd name="connsiteY2" fmla="*/ 1518414 h 1523084"/>
                <a:gd name="connsiteX3" fmla="*/ 0 w 1901418"/>
                <a:gd name="connsiteY3" fmla="*/ 1523084 h 1523084"/>
                <a:gd name="connsiteX4" fmla="*/ 1210342 w 1901418"/>
                <a:gd name="connsiteY4" fmla="*/ 214732 h 1523084"/>
                <a:gd name="connsiteX0" fmla="*/ 1149549 w 1901418"/>
                <a:gd name="connsiteY0" fmla="*/ 0 h 1542839"/>
                <a:gd name="connsiteX1" fmla="*/ 1901418 w 1901418"/>
                <a:gd name="connsiteY1" fmla="*/ 19755 h 1542839"/>
                <a:gd name="connsiteX2" fmla="*/ 782106 w 1901418"/>
                <a:gd name="connsiteY2" fmla="*/ 1538169 h 1542839"/>
                <a:gd name="connsiteX3" fmla="*/ 0 w 1901418"/>
                <a:gd name="connsiteY3" fmla="*/ 1542839 h 1542839"/>
                <a:gd name="connsiteX4" fmla="*/ 1149549 w 1901418"/>
                <a:gd name="connsiteY4" fmla="*/ 0 h 1542839"/>
                <a:gd name="connsiteX0" fmla="*/ 1149549 w 1901418"/>
                <a:gd name="connsiteY0" fmla="*/ 0 h 1542839"/>
                <a:gd name="connsiteX1" fmla="*/ 1901418 w 1901418"/>
                <a:gd name="connsiteY1" fmla="*/ 19755 h 1542839"/>
                <a:gd name="connsiteX2" fmla="*/ 782106 w 1901418"/>
                <a:gd name="connsiteY2" fmla="*/ 1538169 h 1542839"/>
                <a:gd name="connsiteX3" fmla="*/ 0 w 1901418"/>
                <a:gd name="connsiteY3" fmla="*/ 1542839 h 1542839"/>
                <a:gd name="connsiteX4" fmla="*/ 1149549 w 1901418"/>
                <a:gd name="connsiteY4" fmla="*/ 0 h 1542839"/>
                <a:gd name="connsiteX0" fmla="*/ 1149549 w 1910103"/>
                <a:gd name="connsiteY0" fmla="*/ 0 h 1542839"/>
                <a:gd name="connsiteX1" fmla="*/ 1910103 w 1910103"/>
                <a:gd name="connsiteY1" fmla="*/ 2385 h 1542839"/>
                <a:gd name="connsiteX2" fmla="*/ 782106 w 1910103"/>
                <a:gd name="connsiteY2" fmla="*/ 1538169 h 1542839"/>
                <a:gd name="connsiteX3" fmla="*/ 0 w 1910103"/>
                <a:gd name="connsiteY3" fmla="*/ 1542839 h 1542839"/>
                <a:gd name="connsiteX4" fmla="*/ 1149549 w 1910103"/>
                <a:gd name="connsiteY4" fmla="*/ 0 h 1542839"/>
                <a:gd name="connsiteX0" fmla="*/ 1149549 w 1927472"/>
                <a:gd name="connsiteY0" fmla="*/ 0 h 1542839"/>
                <a:gd name="connsiteX1" fmla="*/ 1927472 w 1927472"/>
                <a:gd name="connsiteY1" fmla="*/ 11070 h 1542839"/>
                <a:gd name="connsiteX2" fmla="*/ 782106 w 1927472"/>
                <a:gd name="connsiteY2" fmla="*/ 1538169 h 1542839"/>
                <a:gd name="connsiteX3" fmla="*/ 0 w 1927472"/>
                <a:gd name="connsiteY3" fmla="*/ 1542839 h 1542839"/>
                <a:gd name="connsiteX4" fmla="*/ 1149549 w 1927472"/>
                <a:gd name="connsiteY4" fmla="*/ 0 h 1542839"/>
                <a:gd name="connsiteX0" fmla="*/ 1219027 w 1927472"/>
                <a:gd name="connsiteY0" fmla="*/ 197363 h 1531769"/>
                <a:gd name="connsiteX1" fmla="*/ 1927472 w 1927472"/>
                <a:gd name="connsiteY1" fmla="*/ 0 h 1531769"/>
                <a:gd name="connsiteX2" fmla="*/ 782106 w 1927472"/>
                <a:gd name="connsiteY2" fmla="*/ 1527099 h 1531769"/>
                <a:gd name="connsiteX3" fmla="*/ 0 w 1927472"/>
                <a:gd name="connsiteY3" fmla="*/ 1531769 h 1531769"/>
                <a:gd name="connsiteX4" fmla="*/ 1219027 w 1927472"/>
                <a:gd name="connsiteY4" fmla="*/ 197363 h 1531769"/>
                <a:gd name="connsiteX0" fmla="*/ 1149549 w 1927472"/>
                <a:gd name="connsiteY0" fmla="*/ 0 h 1534154"/>
                <a:gd name="connsiteX1" fmla="*/ 1927472 w 1927472"/>
                <a:gd name="connsiteY1" fmla="*/ 2385 h 1534154"/>
                <a:gd name="connsiteX2" fmla="*/ 782106 w 1927472"/>
                <a:gd name="connsiteY2" fmla="*/ 1529484 h 1534154"/>
                <a:gd name="connsiteX3" fmla="*/ 0 w 1927472"/>
                <a:gd name="connsiteY3" fmla="*/ 1534154 h 1534154"/>
                <a:gd name="connsiteX4" fmla="*/ 1149549 w 1927472"/>
                <a:gd name="connsiteY4" fmla="*/ 0 h 1534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7472" h="1534154">
                  <a:moveTo>
                    <a:pt x="1149549" y="0"/>
                  </a:moveTo>
                  <a:lnTo>
                    <a:pt x="1927472" y="2385"/>
                  </a:lnTo>
                  <a:lnTo>
                    <a:pt x="782106" y="1529484"/>
                  </a:lnTo>
                  <a:lnTo>
                    <a:pt x="0" y="1534154"/>
                  </a:lnTo>
                  <a:lnTo>
                    <a:pt x="1149549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Прямоугольник 2">
              <a:extLst>
                <a:ext uri="{FF2B5EF4-FFF2-40B4-BE49-F238E27FC236}">
                  <a16:creationId xmlns="" xmlns:a16="http://schemas.microsoft.com/office/drawing/2014/main" id="{50D7B8AA-A745-0D0A-14C7-759B3842516B}"/>
                </a:ext>
              </a:extLst>
            </p:cNvPr>
            <p:cNvSpPr/>
            <p:nvPr/>
          </p:nvSpPr>
          <p:spPr>
            <a:xfrm>
              <a:off x="2589450" y="5282168"/>
              <a:ext cx="618339" cy="7524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  <a:gd name="connsiteX0" fmla="*/ 2103285 w 2863840"/>
                <a:gd name="connsiteY0" fmla="*/ 6299 h 3654851"/>
                <a:gd name="connsiteX1" fmla="*/ 2863840 w 2863840"/>
                <a:gd name="connsiteY1" fmla="*/ 0 h 3654851"/>
                <a:gd name="connsiteX2" fmla="*/ 137856 w 2863840"/>
                <a:gd name="connsiteY2" fmla="*/ 3654851 h 3654851"/>
                <a:gd name="connsiteX3" fmla="*/ 0 w 2863840"/>
                <a:gd name="connsiteY3" fmla="*/ 3536356 h 3654851"/>
                <a:gd name="connsiteX4" fmla="*/ 2103285 w 2863840"/>
                <a:gd name="connsiteY4" fmla="*/ 6299 h 3654851"/>
                <a:gd name="connsiteX0" fmla="*/ 2216976 w 2977531"/>
                <a:gd name="connsiteY0" fmla="*/ 6299 h 3654851"/>
                <a:gd name="connsiteX1" fmla="*/ 2977531 w 2977531"/>
                <a:gd name="connsiteY1" fmla="*/ 0 h 3654851"/>
                <a:gd name="connsiteX2" fmla="*/ 251547 w 2977531"/>
                <a:gd name="connsiteY2" fmla="*/ 3654851 h 3654851"/>
                <a:gd name="connsiteX3" fmla="*/ 0 w 2977531"/>
                <a:gd name="connsiteY3" fmla="*/ 3631098 h 3654851"/>
                <a:gd name="connsiteX4" fmla="*/ 2216976 w 2977531"/>
                <a:gd name="connsiteY4" fmla="*/ 6299 h 3654851"/>
                <a:gd name="connsiteX0" fmla="*/ 2008542 w 2769097"/>
                <a:gd name="connsiteY0" fmla="*/ 6299 h 3654851"/>
                <a:gd name="connsiteX1" fmla="*/ 2769097 w 2769097"/>
                <a:gd name="connsiteY1" fmla="*/ 0 h 3654851"/>
                <a:gd name="connsiteX2" fmla="*/ 43113 w 2769097"/>
                <a:gd name="connsiteY2" fmla="*/ 3654851 h 3654851"/>
                <a:gd name="connsiteX3" fmla="*/ 0 w 2769097"/>
                <a:gd name="connsiteY3" fmla="*/ 3242654 h 3654851"/>
                <a:gd name="connsiteX4" fmla="*/ 2008542 w 2769097"/>
                <a:gd name="connsiteY4" fmla="*/ 6299 h 3654851"/>
                <a:gd name="connsiteX0" fmla="*/ 2245398 w 3005953"/>
                <a:gd name="connsiteY0" fmla="*/ 6299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245398 w 3005953"/>
                <a:gd name="connsiteY4" fmla="*/ 6299 h 3654851"/>
                <a:gd name="connsiteX0" fmla="*/ 2633843 w 3005953"/>
                <a:gd name="connsiteY0" fmla="*/ 15774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633843 w 3005953"/>
                <a:gd name="connsiteY4" fmla="*/ 15774 h 3654851"/>
                <a:gd name="connsiteX0" fmla="*/ 2794905 w 3005953"/>
                <a:gd name="connsiteY0" fmla="*/ 25248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794905 w 3005953"/>
                <a:gd name="connsiteY4" fmla="*/ 25248 h 3654851"/>
                <a:gd name="connsiteX0" fmla="*/ 2757008 w 3005953"/>
                <a:gd name="connsiteY0" fmla="*/ 0 h 3658026"/>
                <a:gd name="connsiteX1" fmla="*/ 3005953 w 3005953"/>
                <a:gd name="connsiteY1" fmla="*/ 3175 h 3658026"/>
                <a:gd name="connsiteX2" fmla="*/ 279969 w 3005953"/>
                <a:gd name="connsiteY2" fmla="*/ 3658026 h 3658026"/>
                <a:gd name="connsiteX3" fmla="*/ 0 w 3005953"/>
                <a:gd name="connsiteY3" fmla="*/ 3653222 h 3658026"/>
                <a:gd name="connsiteX4" fmla="*/ 2757008 w 3005953"/>
                <a:gd name="connsiteY4" fmla="*/ 0 h 3658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5953" h="3658026">
                  <a:moveTo>
                    <a:pt x="2757008" y="0"/>
                  </a:moveTo>
                  <a:lnTo>
                    <a:pt x="3005953" y="3175"/>
                  </a:lnTo>
                  <a:lnTo>
                    <a:pt x="279969" y="3658026"/>
                  </a:lnTo>
                  <a:lnTo>
                    <a:pt x="0" y="3653222"/>
                  </a:lnTo>
                  <a:lnTo>
                    <a:pt x="2757008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cxnSp>
        <p:nvCxnSpPr>
          <p:cNvPr id="4" name="Прямая соединительная линия 3">
            <a:extLst>
              <a:ext uri="{FF2B5EF4-FFF2-40B4-BE49-F238E27FC236}">
                <a16:creationId xmlns="" xmlns:a16="http://schemas.microsoft.com/office/drawing/2014/main" id="{3370FFDB-E501-1B63-4876-CD2BB01BB7AD}"/>
              </a:ext>
            </a:extLst>
          </p:cNvPr>
          <p:cNvCxnSpPr>
            <a:cxnSpLocks/>
          </p:cNvCxnSpPr>
          <p:nvPr userDrawn="1"/>
        </p:nvCxnSpPr>
        <p:spPr>
          <a:xfrm flipV="1">
            <a:off x="-159959" y="-597523"/>
            <a:ext cx="0" cy="373092"/>
          </a:xfrm>
          <a:prstGeom prst="line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905A9B4E-9438-88F3-29E1-BFC9AE9768B6}"/>
              </a:ext>
            </a:extLst>
          </p:cNvPr>
          <p:cNvSpPr txBox="1"/>
          <p:nvPr userDrawn="1"/>
        </p:nvSpPr>
        <p:spPr>
          <a:xfrm>
            <a:off x="-2377438" y="-1452377"/>
            <a:ext cx="213281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6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ИРМЕННАЯ РАМКА №3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пустимо вертикальное перемещение до середины слайда</a:t>
            </a:r>
          </a:p>
        </p:txBody>
      </p:sp>
      <p:sp>
        <p:nvSpPr>
          <p:cNvPr id="18" name="Объект 2">
            <a:extLst>
              <a:ext uri="{FF2B5EF4-FFF2-40B4-BE49-F238E27FC236}">
                <a16:creationId xmlns="" xmlns:a16="http://schemas.microsoft.com/office/drawing/2014/main" id="{9B06F283-9B9E-D59D-E305-597E718E3B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4344" y="2878281"/>
            <a:ext cx="10560169" cy="3538393"/>
          </a:xfrm>
        </p:spPr>
        <p:txBody>
          <a:bodyPr>
            <a:normAutofit/>
          </a:bodyPr>
          <a:lstStyle>
            <a:lvl1pPr marL="0" indent="0">
              <a:buNone/>
              <a:defRPr sz="1400" b="0" i="0" spc="0" baseline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b="0" i="0">
                <a:latin typeface="FSRAILWAY Book" panose="020B0503040504020204" pitchFamily="34" charset="0"/>
              </a:defRPr>
            </a:lvl2pPr>
            <a:lvl3pPr>
              <a:defRPr b="0" i="0">
                <a:latin typeface="FSRAILWAY Book" panose="020B0503040504020204" pitchFamily="34" charset="0"/>
              </a:defRPr>
            </a:lvl3pPr>
            <a:lvl4pPr>
              <a:defRPr b="0" i="0">
                <a:latin typeface="FSRAILWAY Book" panose="020B0503040504020204" pitchFamily="34" charset="0"/>
              </a:defRPr>
            </a:lvl4pPr>
            <a:lvl5pPr>
              <a:defRPr b="0" i="0">
                <a:latin typeface="FSRAILWAY Book" panose="020B0503040504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" name="Текст 4">
            <a:extLst>
              <a:ext uri="{FF2B5EF4-FFF2-40B4-BE49-F238E27FC236}">
                <a16:creationId xmlns="" xmlns:a16="http://schemas.microsoft.com/office/drawing/2014/main" id="{65699D10-9028-8BE8-BC33-F0C6CFFA6D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837" y="2223471"/>
            <a:ext cx="6190763" cy="53250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 b="0" i="0" spc="100" baseline="0">
                <a:ln cap="sq">
                  <a:solidFill>
                    <a:schemeClr val="tx1"/>
                  </a:solidFill>
                  <a:miter lim="800000"/>
                </a:ln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РОТКОЕ ДОПОЛНЕНИЕ К ЗАГОЛОВКУ</a:t>
            </a:r>
          </a:p>
        </p:txBody>
      </p:sp>
      <p:sp>
        <p:nvSpPr>
          <p:cNvPr id="3" name="Заголовок 7">
            <a:extLst>
              <a:ext uri="{FF2B5EF4-FFF2-40B4-BE49-F238E27FC236}">
                <a16:creationId xmlns="" xmlns:a16="http://schemas.microsoft.com/office/drawing/2014/main" id="{5E65BC66-0B59-5089-D323-FC0A65A6CD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37" y="365125"/>
            <a:ext cx="7919551" cy="1325563"/>
          </a:xfrm>
        </p:spPr>
        <p:txBody>
          <a:bodyPr anchor="t">
            <a:normAutofit/>
          </a:bodyPr>
          <a:lstStyle>
            <a:lvl1pPr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/ </a:t>
            </a:r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ЗАГЛАВНЫЕ</a:t>
            </a:r>
            <a:br>
              <a:rPr lang="ru-RU" dirty="0"/>
            </a:br>
            <a:r>
              <a:rPr lang="ru-RU" dirty="0"/>
              <a:t>БУКВЫ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C659A906-B457-2A2B-370D-EF232B3E50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359" y="445892"/>
            <a:ext cx="2403475" cy="52301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3A0C228D-B81E-7DAA-5421-7E19C62BCC74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82216793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рменная рамка №3 (слев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ъект 2">
            <a:extLst>
              <a:ext uri="{FF2B5EF4-FFF2-40B4-BE49-F238E27FC236}">
                <a16:creationId xmlns="" xmlns:a16="http://schemas.microsoft.com/office/drawing/2014/main" id="{DCF0CEDF-6EB7-B368-251F-74A61D5F8E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8837" y="2401543"/>
            <a:ext cx="5327163" cy="4015133"/>
          </a:xfrm>
        </p:spPr>
        <p:txBody>
          <a:bodyPr>
            <a:normAutofit/>
          </a:bodyPr>
          <a:lstStyle>
            <a:lvl1pPr marL="0" indent="0">
              <a:buNone/>
              <a:defRPr sz="1400" b="0" i="0" spc="0" baseline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b="0" i="0">
                <a:latin typeface="FSRAILWAY Book" panose="020B0503040504020204" pitchFamily="34" charset="0"/>
              </a:defRPr>
            </a:lvl2pPr>
            <a:lvl3pPr>
              <a:defRPr b="0" i="0">
                <a:latin typeface="FSRAILWAY Book" panose="020B0503040504020204" pitchFamily="34" charset="0"/>
              </a:defRPr>
            </a:lvl3pPr>
            <a:lvl4pPr>
              <a:defRPr b="0" i="0">
                <a:latin typeface="FSRAILWAY Book" panose="020B0503040504020204" pitchFamily="34" charset="0"/>
              </a:defRPr>
            </a:lvl4pPr>
            <a:lvl5pPr>
              <a:defRPr b="0" i="0">
                <a:latin typeface="FSRAILWAY Book" panose="020B0503040504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="" xmlns:a16="http://schemas.microsoft.com/office/drawing/2014/main" id="{C41FADD8-87A6-C258-2E54-422129B6331C}"/>
              </a:ext>
            </a:extLst>
          </p:cNvPr>
          <p:cNvCxnSpPr>
            <a:cxnSpLocks/>
          </p:cNvCxnSpPr>
          <p:nvPr userDrawn="1"/>
        </p:nvCxnSpPr>
        <p:spPr>
          <a:xfrm rot="16200000" flipV="1">
            <a:off x="-362841" y="-353081"/>
            <a:ext cx="0" cy="373092"/>
          </a:xfrm>
          <a:prstGeom prst="line">
            <a:avLst/>
          </a:prstGeom>
          <a:ln w="1270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467F89E5-B403-F9C1-2FA9-CFD3D33F946A}"/>
              </a:ext>
            </a:extLst>
          </p:cNvPr>
          <p:cNvSpPr txBox="1"/>
          <p:nvPr userDrawn="1"/>
        </p:nvSpPr>
        <p:spPr>
          <a:xfrm>
            <a:off x="-2912012" y="-1178057"/>
            <a:ext cx="285026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6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ИРМЕННАЯ</a:t>
            </a:r>
            <a:br>
              <a:rPr lang="ru-RU" sz="16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6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МКА №3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пустимо горизонтальное перемещение до логотипа</a:t>
            </a:r>
          </a:p>
        </p:txBody>
      </p:sp>
      <p:sp>
        <p:nvSpPr>
          <p:cNvPr id="5" name="Заголовок 7">
            <a:extLst>
              <a:ext uri="{FF2B5EF4-FFF2-40B4-BE49-F238E27FC236}">
                <a16:creationId xmlns="" xmlns:a16="http://schemas.microsoft.com/office/drawing/2014/main" id="{EBE0C7EE-BAD8-30D0-FFD8-604BE19518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37" y="365125"/>
            <a:ext cx="5327163" cy="1868121"/>
          </a:xfrm>
        </p:spPr>
        <p:txBody>
          <a:bodyPr anchor="t">
            <a:normAutofit/>
          </a:bodyPr>
          <a:lstStyle>
            <a:lvl1pPr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/ </a:t>
            </a:r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ЗАГЛАВНЫЕ</a:t>
            </a:r>
            <a:br>
              <a:rPr lang="ru-RU" dirty="0"/>
            </a:br>
            <a:r>
              <a:rPr lang="ru-RU" dirty="0"/>
              <a:t>БУКВЫ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B541AE30-93E9-D374-CAFA-63C3E0DD0C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359" y="445892"/>
            <a:ext cx="2403475" cy="52301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9311DC83-AE51-ECF6-5140-7BD3C95FA4A8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96864568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  <p15:guide id="21" pos="279" userDrawn="1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ри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Текст 26">
            <a:extLst>
              <a:ext uri="{FF2B5EF4-FFF2-40B4-BE49-F238E27FC236}">
                <a16:creationId xmlns="" xmlns:a16="http://schemas.microsoft.com/office/drawing/2014/main" id="{3F9AEF52-DB3B-8989-5D1A-52A74FEB00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64492" y="2377776"/>
            <a:ext cx="2188847" cy="45250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lang="ru-RU" sz="1400" b="1" i="0" kern="1200" spc="200" dirty="0" smtClean="0">
                <a:ln cap="sq">
                  <a:noFill/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  <a:br>
              <a:rPr lang="ru-RU" dirty="0"/>
            </a:br>
            <a:r>
              <a:rPr lang="ru-RU" dirty="0"/>
              <a:t>ЗАГЛАВНЫЕ</a:t>
            </a:r>
          </a:p>
        </p:txBody>
      </p:sp>
      <p:sp>
        <p:nvSpPr>
          <p:cNvPr id="30" name="Текст 29">
            <a:extLst>
              <a:ext uri="{FF2B5EF4-FFF2-40B4-BE49-F238E27FC236}">
                <a16:creationId xmlns="" xmlns:a16="http://schemas.microsoft.com/office/drawing/2014/main" id="{17506577-A82B-2ACD-706D-F09504A3D9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19264" y="2377778"/>
            <a:ext cx="2256922" cy="45250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lang="ru-RU" sz="1400" b="1" i="0" kern="1200" spc="200" dirty="0" smtClean="0">
                <a:ln cap="sq">
                  <a:noFill/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  <a:br>
              <a:rPr lang="ru-RU" dirty="0"/>
            </a:br>
            <a:r>
              <a:rPr lang="ru-RU" dirty="0"/>
              <a:t>ЗАГЛАВНЫЕ</a:t>
            </a:r>
          </a:p>
        </p:txBody>
      </p:sp>
      <p:sp>
        <p:nvSpPr>
          <p:cNvPr id="32" name="Текст 31">
            <a:extLst>
              <a:ext uri="{FF2B5EF4-FFF2-40B4-BE49-F238E27FC236}">
                <a16:creationId xmlns="" xmlns:a16="http://schemas.microsoft.com/office/drawing/2014/main" id="{EE4A4B22-CA7B-F141-A7E9-78297F4C11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19265" y="2950030"/>
            <a:ext cx="2256921" cy="655615"/>
          </a:xfrm>
        </p:spPr>
        <p:txBody>
          <a:bodyPr>
            <a:normAutofit/>
          </a:bodyPr>
          <a:lstStyle>
            <a:lvl1pPr marL="0" indent="0">
              <a:buNone/>
              <a:defRPr lang="ru-RU" sz="1200" b="0" i="0" kern="1200" spc="0" baseline="0" dirty="0" smtClean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Текст 33">
            <a:extLst>
              <a:ext uri="{FF2B5EF4-FFF2-40B4-BE49-F238E27FC236}">
                <a16:creationId xmlns="" xmlns:a16="http://schemas.microsoft.com/office/drawing/2014/main" id="{7EB1CFF9-5996-9CB8-259E-ABCA5A68C2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17844" y="2377777"/>
            <a:ext cx="2242687" cy="452509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lang="ru-RU" sz="1400" b="1" i="0" kern="1200" spc="200" dirty="0" smtClean="0">
                <a:ln cap="sq">
                  <a:noFill/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ПОДЗАГОЛОВОК</a:t>
            </a:r>
            <a:br>
              <a:rPr lang="ru-RU" dirty="0"/>
            </a:br>
            <a:r>
              <a:rPr lang="ru-RU" dirty="0"/>
              <a:t>ЗАГЛАВНЫЕ</a:t>
            </a:r>
          </a:p>
        </p:txBody>
      </p:sp>
      <p:sp>
        <p:nvSpPr>
          <p:cNvPr id="36" name="Текст 35">
            <a:extLst>
              <a:ext uri="{FF2B5EF4-FFF2-40B4-BE49-F238E27FC236}">
                <a16:creationId xmlns="" xmlns:a16="http://schemas.microsoft.com/office/drawing/2014/main" id="{2CFF7750-582D-9EDB-DC2F-C4145475C9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17844" y="2950029"/>
            <a:ext cx="2242687" cy="655616"/>
          </a:xfrm>
        </p:spPr>
        <p:txBody>
          <a:bodyPr>
            <a:normAutofit/>
          </a:bodyPr>
          <a:lstStyle>
            <a:lvl1pPr marL="0" indent="0">
              <a:buNone/>
              <a:defRPr lang="ru-RU" sz="1200" b="0" i="0" kern="1200" spc="0" baseline="0" dirty="0" smtClean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3" name="Текст 51">
            <a:extLst>
              <a:ext uri="{FF2B5EF4-FFF2-40B4-BE49-F238E27FC236}">
                <a16:creationId xmlns="" xmlns:a16="http://schemas.microsoft.com/office/drawing/2014/main" id="{ECE13962-0D65-E822-5037-A909F2C6F8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64492" y="2943674"/>
            <a:ext cx="2188847" cy="660514"/>
          </a:xfrm>
        </p:spPr>
        <p:txBody>
          <a:bodyPr>
            <a:normAutofit/>
          </a:bodyPr>
          <a:lstStyle>
            <a:lvl1pPr marL="0" indent="0">
              <a:buNone/>
              <a:defRPr lang="ru-RU" sz="1200" b="0" i="0" kern="1200" spc="0" baseline="0" dirty="0" smtClean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8C0223EF-A4CA-66AF-10C6-48E64ACE48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359" y="445892"/>
            <a:ext cx="2403475" cy="523011"/>
          </a:xfrm>
          <a:prstGeom prst="rect">
            <a:avLst/>
          </a:prstGeom>
        </p:spPr>
      </p:pic>
      <p:sp>
        <p:nvSpPr>
          <p:cNvPr id="3" name="Заголовок 7">
            <a:extLst>
              <a:ext uri="{FF2B5EF4-FFF2-40B4-BE49-F238E27FC236}">
                <a16:creationId xmlns="" xmlns:a16="http://schemas.microsoft.com/office/drawing/2014/main" id="{8E5BC941-B33B-E039-DAF7-0F7989B9F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37" y="365125"/>
            <a:ext cx="7919551" cy="1325563"/>
          </a:xfrm>
        </p:spPr>
        <p:txBody>
          <a:bodyPr anchor="t">
            <a:normAutofit/>
          </a:bodyPr>
          <a:lstStyle>
            <a:lvl1pPr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/ </a:t>
            </a:r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ЗАГЛАВНЫЕ</a:t>
            </a:r>
            <a:br>
              <a:rPr lang="ru-RU" dirty="0"/>
            </a:br>
            <a:r>
              <a:rPr lang="ru-RU" dirty="0"/>
              <a:t>БУКВЫ</a:t>
            </a:r>
          </a:p>
        </p:txBody>
      </p:sp>
      <p:sp>
        <p:nvSpPr>
          <p:cNvPr id="6" name="Рисунок 4">
            <a:extLst>
              <a:ext uri="{FF2B5EF4-FFF2-40B4-BE49-F238E27FC236}">
                <a16:creationId xmlns="" xmlns:a16="http://schemas.microsoft.com/office/drawing/2014/main" id="{962FDF98-56D5-66A4-F937-7F54E171CC7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74713" y="3717577"/>
            <a:ext cx="2628900" cy="2702273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lang="ru-RU" sz="1800" u="none" kern="1200" spc="100" baseline="0" dirty="0">
                <a:ln cap="sq">
                  <a:noFill/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ВСТАВЬТЕ ИЗОБРАЖЕНИЕ</a:t>
            </a:r>
          </a:p>
        </p:txBody>
      </p:sp>
      <p:sp>
        <p:nvSpPr>
          <p:cNvPr id="8" name="Рисунок 4">
            <a:extLst>
              <a:ext uri="{FF2B5EF4-FFF2-40B4-BE49-F238E27FC236}">
                <a16:creationId xmlns="" xmlns:a16="http://schemas.microsoft.com/office/drawing/2014/main" id="{1F0A708B-7649-AAF1-8F3C-4AA8E61180A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34886" y="3717578"/>
            <a:ext cx="2627937" cy="2267298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lang="ru-RU" sz="1800" u="none" kern="1200" spc="100" baseline="0" dirty="0">
                <a:ln cap="sq">
                  <a:noFill/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ВСТАВЬТЕ ИЗОБРАЖЕНИЕ</a:t>
            </a:r>
          </a:p>
        </p:txBody>
      </p:sp>
      <p:sp>
        <p:nvSpPr>
          <p:cNvPr id="10" name="Рисунок 4">
            <a:extLst>
              <a:ext uri="{FF2B5EF4-FFF2-40B4-BE49-F238E27FC236}">
                <a16:creationId xmlns="" xmlns:a16="http://schemas.microsoft.com/office/drawing/2014/main" id="{DFE48F6A-5E2E-9140-1C86-7408D6DCA19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824788" y="3728760"/>
            <a:ext cx="2627937" cy="1824315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lang="ru-RU" sz="1800" u="none" kern="1200" spc="100" baseline="0" dirty="0">
                <a:ln cap="sq">
                  <a:noFill/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ВСТАВЬТЕ ИЗОБРАЖЕНИЕ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ADDF386C-0053-AA97-8C7E-FDBDDFFF15AC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92185537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рменная рамка №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Текст 26">
            <a:extLst>
              <a:ext uri="{FF2B5EF4-FFF2-40B4-BE49-F238E27FC236}">
                <a16:creationId xmlns="" xmlns:a16="http://schemas.microsoft.com/office/drawing/2014/main" id="{3F9AEF52-DB3B-8989-5D1A-52A74FEB00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6775" y="2899946"/>
            <a:ext cx="2600324" cy="52905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lang="ru-RU" sz="1400" b="1" i="0" kern="1200" spc="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ЗАГЛАВНЫЕ</a:t>
            </a:r>
          </a:p>
        </p:txBody>
      </p:sp>
      <p:sp>
        <p:nvSpPr>
          <p:cNvPr id="53" name="Текст 51">
            <a:extLst>
              <a:ext uri="{FF2B5EF4-FFF2-40B4-BE49-F238E27FC236}">
                <a16:creationId xmlns="" xmlns:a16="http://schemas.microsoft.com/office/drawing/2014/main" id="{ECE13962-0D65-E822-5037-A909F2C6F8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776" y="3424923"/>
            <a:ext cx="2600324" cy="1842381"/>
          </a:xfrm>
        </p:spPr>
        <p:txBody>
          <a:bodyPr>
            <a:normAutofit/>
          </a:bodyPr>
          <a:lstStyle>
            <a:lvl1pPr marL="198438" indent="-198438">
              <a:spcBef>
                <a:spcPts val="0"/>
              </a:spcBef>
              <a:buClr>
                <a:srgbClr val="7F7F7F"/>
              </a:buClr>
              <a:buFont typeface="Wingdings" pitchFamily="2" charset="2"/>
              <a:buChar char="§"/>
              <a:tabLst/>
              <a:defRPr lang="ru-RU" sz="1400" b="0" i="0" kern="1200" spc="0" baseline="0" dirty="0" smtClean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пункт 1</a:t>
            </a:r>
          </a:p>
        </p:txBody>
      </p:sp>
      <p:sp>
        <p:nvSpPr>
          <p:cNvPr id="28" name="Текст 27">
            <a:extLst>
              <a:ext uri="{FF2B5EF4-FFF2-40B4-BE49-F238E27FC236}">
                <a16:creationId xmlns="" xmlns:a16="http://schemas.microsoft.com/office/drawing/2014/main" id="{4F0BCC34-FFF1-627B-EE29-08132C750B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11799" y="2899946"/>
            <a:ext cx="2600324" cy="53250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lang="ru-RU" sz="1400" b="1" i="0" kern="1200" spc="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ЗАГЛАВНЫЕ</a:t>
            </a:r>
          </a:p>
        </p:txBody>
      </p:sp>
      <p:sp>
        <p:nvSpPr>
          <p:cNvPr id="31" name="Текст 30">
            <a:extLst>
              <a:ext uri="{FF2B5EF4-FFF2-40B4-BE49-F238E27FC236}">
                <a16:creationId xmlns="" xmlns:a16="http://schemas.microsoft.com/office/drawing/2014/main" id="{0928409C-24B3-2FF4-3F8E-6BC1872F810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11600" y="3432175"/>
            <a:ext cx="2597150" cy="1837915"/>
          </a:xfrm>
        </p:spPr>
        <p:txBody>
          <a:bodyPr>
            <a:normAutofit/>
          </a:bodyPr>
          <a:lstStyle>
            <a:lvl1pPr marL="177800" indent="-177800">
              <a:buClr>
                <a:srgbClr val="7F7F7F"/>
              </a:buClr>
              <a:buFont typeface="Wingdings" pitchFamily="2" charset="2"/>
              <a:buChar char="§"/>
              <a:tabLst/>
              <a:defRPr lang="ru-RU" sz="1400" b="0" i="0" kern="1200" spc="0" baseline="0" dirty="0" smtClean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пункт 1</a:t>
            </a:r>
          </a:p>
        </p:txBody>
      </p:sp>
      <p:sp>
        <p:nvSpPr>
          <p:cNvPr id="35" name="Текст 34">
            <a:extLst>
              <a:ext uri="{FF2B5EF4-FFF2-40B4-BE49-F238E27FC236}">
                <a16:creationId xmlns="" xmlns:a16="http://schemas.microsoft.com/office/drawing/2014/main" id="{63FBE8C3-2824-A88A-1F77-E7935745DF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56822" y="3439425"/>
            <a:ext cx="2631678" cy="1837915"/>
          </a:xfrm>
        </p:spPr>
        <p:txBody>
          <a:bodyPr>
            <a:normAutofit/>
          </a:bodyPr>
          <a:lstStyle>
            <a:lvl1pPr marL="177800" indent="-177800">
              <a:buClr>
                <a:srgbClr val="7F7F7F"/>
              </a:buClr>
              <a:buFont typeface="Wingdings" pitchFamily="2" charset="2"/>
              <a:buChar char="§"/>
              <a:tabLst/>
              <a:defRPr lang="ru-RU" sz="1400" b="0" i="0" kern="1200" spc="0" baseline="0" dirty="0" smtClean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пункт 1</a:t>
            </a:r>
          </a:p>
        </p:txBody>
      </p:sp>
      <p:sp>
        <p:nvSpPr>
          <p:cNvPr id="39" name="Текст 38">
            <a:extLst>
              <a:ext uri="{FF2B5EF4-FFF2-40B4-BE49-F238E27FC236}">
                <a16:creationId xmlns="" xmlns:a16="http://schemas.microsoft.com/office/drawing/2014/main" id="{FC95877D-F5B8-2F51-8628-A04468AB992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56821" y="2900363"/>
            <a:ext cx="2631679" cy="52387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lang="ru-RU" sz="1400" b="1" i="0" kern="1200" spc="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ЗАГЛАВНЫЕ</a:t>
            </a:r>
          </a:p>
        </p:txBody>
      </p:sp>
      <p:sp>
        <p:nvSpPr>
          <p:cNvPr id="9" name="Текст 8">
            <a:extLst>
              <a:ext uri="{FF2B5EF4-FFF2-40B4-BE49-F238E27FC236}">
                <a16:creationId xmlns="" xmlns:a16="http://schemas.microsoft.com/office/drawing/2014/main" id="{2608247A-E265-46ED-E7C0-4160A8BDFEC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6774" y="5799564"/>
            <a:ext cx="7821614" cy="473449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lang="ru-RU" sz="14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Примечани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B710BAF6-41C9-669F-E991-45AF569F25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359" y="445892"/>
            <a:ext cx="2403475" cy="523011"/>
          </a:xfrm>
          <a:prstGeom prst="rect">
            <a:avLst/>
          </a:prstGeom>
        </p:spPr>
      </p:pic>
      <p:sp>
        <p:nvSpPr>
          <p:cNvPr id="3" name="Заголовок 7">
            <a:extLst>
              <a:ext uri="{FF2B5EF4-FFF2-40B4-BE49-F238E27FC236}">
                <a16:creationId xmlns="" xmlns:a16="http://schemas.microsoft.com/office/drawing/2014/main" id="{15A766AE-3D66-90CB-7391-23A263FE1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37" y="365125"/>
            <a:ext cx="7919551" cy="1325563"/>
          </a:xfrm>
        </p:spPr>
        <p:txBody>
          <a:bodyPr anchor="t">
            <a:normAutofit/>
          </a:bodyPr>
          <a:lstStyle>
            <a:lvl1pPr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/ </a:t>
            </a:r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ЗАГЛАВНЫЕ</a:t>
            </a:r>
            <a:br>
              <a:rPr lang="ru-RU" dirty="0"/>
            </a:br>
            <a:r>
              <a:rPr lang="ru-RU" dirty="0"/>
              <a:t>БУКВЫ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6F7AECFB-0505-7DFF-8C94-9A0EA4D8C8EE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24423572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29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арт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B710BAF6-41C9-669F-E991-45AF569F25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359" y="445892"/>
            <a:ext cx="2403475" cy="523011"/>
          </a:xfrm>
          <a:prstGeom prst="rect">
            <a:avLst/>
          </a:prstGeom>
        </p:spPr>
      </p:pic>
      <p:sp>
        <p:nvSpPr>
          <p:cNvPr id="51" name="Заголовок 7">
            <a:extLst>
              <a:ext uri="{FF2B5EF4-FFF2-40B4-BE49-F238E27FC236}">
                <a16:creationId xmlns="" xmlns:a16="http://schemas.microsoft.com/office/drawing/2014/main" id="{4C2B256D-ABD8-A54A-03D8-133CBE54E7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37" y="365125"/>
            <a:ext cx="7919551" cy="1325563"/>
          </a:xfrm>
        </p:spPr>
        <p:txBody>
          <a:bodyPr anchor="t">
            <a:normAutofit/>
          </a:bodyPr>
          <a:lstStyle>
            <a:lvl1pPr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/ </a:t>
            </a:r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ЗАГЛАВНЫЕ</a:t>
            </a:r>
            <a:br>
              <a:rPr lang="ru-RU" dirty="0"/>
            </a:br>
            <a:r>
              <a:rPr lang="ru-RU" dirty="0"/>
              <a:t>БУКВЫ</a:t>
            </a:r>
          </a:p>
        </p:txBody>
      </p:sp>
      <p:sp>
        <p:nvSpPr>
          <p:cNvPr id="55" name="Объект 2">
            <a:extLst>
              <a:ext uri="{FF2B5EF4-FFF2-40B4-BE49-F238E27FC236}">
                <a16:creationId xmlns="" xmlns:a16="http://schemas.microsoft.com/office/drawing/2014/main" id="{823AC8D4-62E1-2E78-44F2-1FDDEBEB66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4344" y="2878281"/>
            <a:ext cx="5326614" cy="3538393"/>
          </a:xfrm>
        </p:spPr>
        <p:txBody>
          <a:bodyPr>
            <a:normAutofit/>
          </a:bodyPr>
          <a:lstStyle>
            <a:lvl1pPr marL="0" indent="0">
              <a:buNone/>
              <a:defRPr sz="1400" b="0" i="0" spc="0" baseline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b="0" i="0">
                <a:latin typeface="FSRAILWAY Book" panose="020B0503040504020204" pitchFamily="34" charset="0"/>
              </a:defRPr>
            </a:lvl2pPr>
            <a:lvl3pPr>
              <a:defRPr b="0" i="0">
                <a:latin typeface="FSRAILWAY Book" panose="020B0503040504020204" pitchFamily="34" charset="0"/>
              </a:defRPr>
            </a:lvl3pPr>
            <a:lvl4pPr>
              <a:defRPr b="0" i="0">
                <a:latin typeface="FSRAILWAY Book" panose="020B0503040504020204" pitchFamily="34" charset="0"/>
              </a:defRPr>
            </a:lvl4pPr>
            <a:lvl5pPr>
              <a:defRPr b="0" i="0">
                <a:latin typeface="FSRAILWAY Book" panose="020B0503040504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6" name="Текст 4">
            <a:extLst>
              <a:ext uri="{FF2B5EF4-FFF2-40B4-BE49-F238E27FC236}">
                <a16:creationId xmlns="" xmlns:a16="http://schemas.microsoft.com/office/drawing/2014/main" id="{4A42A628-701D-5718-6C9E-99104E7DB4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838" y="2223471"/>
            <a:ext cx="5321262" cy="53250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 b="1" i="0" spc="1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РОТКОЕ ДОПОЛНЕНИЕ К ЗАГОЛОВКУ</a:t>
            </a:r>
          </a:p>
        </p:txBody>
      </p:sp>
      <p:sp>
        <p:nvSpPr>
          <p:cNvPr id="13" name="Рисунок 12">
            <a:extLst>
              <a:ext uri="{FF2B5EF4-FFF2-40B4-BE49-F238E27FC236}">
                <a16:creationId xmlns="" xmlns:a16="http://schemas.microsoft.com/office/drawing/2014/main" id="{C4B8C62D-D892-28DD-1C4A-C4AE03000D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819792" y="2223471"/>
            <a:ext cx="2805113" cy="6064250"/>
          </a:xfrm>
          <a:prstGeom prst="roundRect">
            <a:avLst>
              <a:gd name="adj" fmla="val 13724"/>
            </a:avLst>
          </a:prstGeom>
        </p:spPr>
        <p:txBody>
          <a:bodyPr anchor="ctr">
            <a:normAutofit/>
          </a:bodyPr>
          <a:lstStyle>
            <a:lvl1pPr marL="0" indent="0" algn="ctr">
              <a:buNone/>
              <a:defRPr lang="ru-RU" sz="2400" u="none" kern="1200" spc="100" baseline="0">
                <a:ln cap="sq">
                  <a:noFill/>
                  <a:miter lim="800000"/>
                </a:ln>
                <a:solidFill>
                  <a:schemeClr val="tx1"/>
                </a:solidFill>
                <a:highlight>
                  <a:srgbClr val="E5E5E5"/>
                </a:highligh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ВСТАВЬТЕ СНИМОК ЭКРАН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BF28889F-58BB-5F98-2EEB-D04D9542B868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60562158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29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арт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B710BAF6-41C9-669F-E991-45AF569F25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359" y="445892"/>
            <a:ext cx="2403475" cy="523011"/>
          </a:xfrm>
          <a:prstGeom prst="rect">
            <a:avLst/>
          </a:prstGeom>
        </p:spPr>
      </p:pic>
      <p:sp>
        <p:nvSpPr>
          <p:cNvPr id="13" name="Рисунок 12">
            <a:extLst>
              <a:ext uri="{FF2B5EF4-FFF2-40B4-BE49-F238E27FC236}">
                <a16:creationId xmlns="" xmlns:a16="http://schemas.microsoft.com/office/drawing/2014/main" id="{C4B8C62D-D892-28DD-1C4A-C4AE03000D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756634" y="2605693"/>
            <a:ext cx="2971815" cy="5940333"/>
          </a:xfrm>
          <a:prstGeom prst="roundRect">
            <a:avLst>
              <a:gd name="adj" fmla="val 4764"/>
            </a:avLst>
          </a:prstGeo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lang="ru-RU" sz="2400" u="none" kern="1200" spc="100" baseline="0">
                <a:ln cap="sq">
                  <a:noFill/>
                  <a:miter lim="800000"/>
                </a:ln>
                <a:solidFill>
                  <a:schemeClr val="tx1"/>
                </a:solidFill>
                <a:highlight>
                  <a:srgbClr val="E5E5E5"/>
                </a:highligh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ВСТАВЬТЕ СНИМОК</a:t>
            </a:r>
            <a:br>
              <a:rPr lang="ru-RU" dirty="0"/>
            </a:br>
            <a:r>
              <a:rPr lang="ru-RU" dirty="0"/>
              <a:t>ЭКРАНА</a:t>
            </a:r>
          </a:p>
        </p:txBody>
      </p:sp>
      <p:sp>
        <p:nvSpPr>
          <p:cNvPr id="3" name="Заголовок 7">
            <a:extLst>
              <a:ext uri="{FF2B5EF4-FFF2-40B4-BE49-F238E27FC236}">
                <a16:creationId xmlns="" xmlns:a16="http://schemas.microsoft.com/office/drawing/2014/main" id="{3755A7D4-3832-0D8B-F1C4-3F39009D2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37" y="365125"/>
            <a:ext cx="7919551" cy="1325563"/>
          </a:xfrm>
        </p:spPr>
        <p:txBody>
          <a:bodyPr anchor="t">
            <a:normAutofit/>
          </a:bodyPr>
          <a:lstStyle>
            <a:lvl1pPr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/ </a:t>
            </a:r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ЗАГЛАВНЫЕ</a:t>
            </a:r>
            <a:br>
              <a:rPr lang="ru-RU" dirty="0"/>
            </a:br>
            <a:r>
              <a:rPr lang="ru-RU" dirty="0"/>
              <a:t>БУКВЫ</a:t>
            </a:r>
          </a:p>
        </p:txBody>
      </p:sp>
      <p:sp>
        <p:nvSpPr>
          <p:cNvPr id="4" name="Объект 2">
            <a:extLst>
              <a:ext uri="{FF2B5EF4-FFF2-40B4-BE49-F238E27FC236}">
                <a16:creationId xmlns="" xmlns:a16="http://schemas.microsoft.com/office/drawing/2014/main" id="{46B7A430-749D-B68E-EC56-F0670A3F63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4344" y="2878281"/>
            <a:ext cx="5326614" cy="3538393"/>
          </a:xfrm>
        </p:spPr>
        <p:txBody>
          <a:bodyPr>
            <a:normAutofit/>
          </a:bodyPr>
          <a:lstStyle>
            <a:lvl1pPr marL="0" indent="0">
              <a:buNone/>
              <a:defRPr sz="1400" b="0" i="0" spc="0" baseline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b="0" i="0">
                <a:latin typeface="FSRAILWAY Book" panose="020B0503040504020204" pitchFamily="34" charset="0"/>
              </a:defRPr>
            </a:lvl2pPr>
            <a:lvl3pPr>
              <a:defRPr b="0" i="0">
                <a:latin typeface="FSRAILWAY Book" panose="020B0503040504020204" pitchFamily="34" charset="0"/>
              </a:defRPr>
            </a:lvl3pPr>
            <a:lvl4pPr>
              <a:defRPr b="0" i="0">
                <a:latin typeface="FSRAILWAY Book" panose="020B0503040504020204" pitchFamily="34" charset="0"/>
              </a:defRPr>
            </a:lvl4pPr>
            <a:lvl5pPr>
              <a:defRPr b="0" i="0">
                <a:latin typeface="FSRAILWAY Book" panose="020B0503040504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504E10E8-A4E7-CDE3-8A73-8AFDCBB15AE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838" y="2223471"/>
            <a:ext cx="5321262" cy="53250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 b="1" i="0" spc="1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РОТКОЕ ДОПОЛНЕНИЕ К ЗАГОЛОВКУ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2B014D0E-0A6C-4E67-9E74-E4D52E6FE66E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20218001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29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(Общий) Титул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>
            <a:extLst>
              <a:ext uri="{FF2B5EF4-FFF2-40B4-BE49-F238E27FC236}">
                <a16:creationId xmlns="" xmlns:a16="http://schemas.microsoft.com/office/drawing/2014/main" id="{652A3713-1DE2-F5A8-0F79-EFDCF3DC72A8}"/>
              </a:ext>
            </a:extLst>
          </p:cNvPr>
          <p:cNvGrpSpPr/>
          <p:nvPr userDrawn="1"/>
        </p:nvGrpSpPr>
        <p:grpSpPr>
          <a:xfrm>
            <a:off x="0" y="1376362"/>
            <a:ext cx="12479070" cy="3672171"/>
            <a:chOff x="28575" y="1376362"/>
            <a:chExt cx="12479070" cy="3672171"/>
          </a:xfrm>
          <a:solidFill>
            <a:srgbClr val="FF0000"/>
          </a:solidFill>
        </p:grpSpPr>
        <p:sp>
          <p:nvSpPr>
            <p:cNvPr id="11" name="Прямоугольник 2">
              <a:extLst>
                <a:ext uri="{FF2B5EF4-FFF2-40B4-BE49-F238E27FC236}">
                  <a16:creationId xmlns="" xmlns:a16="http://schemas.microsoft.com/office/drawing/2014/main" id="{C8F80AAA-8A74-5FAF-C2B1-6723DDA245FD}"/>
                </a:ext>
              </a:extLst>
            </p:cNvPr>
            <p:cNvSpPr/>
            <p:nvPr userDrawn="1"/>
          </p:nvSpPr>
          <p:spPr>
            <a:xfrm>
              <a:off x="28575" y="1376363"/>
              <a:ext cx="10149541" cy="3672170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9541" h="3672170">
                  <a:moveTo>
                    <a:pt x="0" y="0"/>
                  </a:moveTo>
                  <a:lnTo>
                    <a:pt x="10149541" y="3175"/>
                  </a:lnTo>
                  <a:lnTo>
                    <a:pt x="7395135" y="3667501"/>
                  </a:lnTo>
                  <a:lnTo>
                    <a:pt x="0" y="367217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" name="Прямоугольник 2">
              <a:extLst>
                <a:ext uri="{FF2B5EF4-FFF2-40B4-BE49-F238E27FC236}">
                  <a16:creationId xmlns="" xmlns:a16="http://schemas.microsoft.com/office/drawing/2014/main" id="{F2C24A5E-96AF-AD22-B446-B08F2D5FD9AB}"/>
                </a:ext>
              </a:extLst>
            </p:cNvPr>
            <p:cNvSpPr/>
            <p:nvPr userDrawn="1"/>
          </p:nvSpPr>
          <p:spPr>
            <a:xfrm>
              <a:off x="9588944" y="1377427"/>
              <a:ext cx="1299451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7585" h="3659521">
                  <a:moveTo>
                    <a:pt x="2728586" y="6299"/>
                  </a:moveTo>
                  <a:lnTo>
                    <a:pt x="3877585" y="0"/>
                  </a:lnTo>
                  <a:lnTo>
                    <a:pt x="1123178" y="3654851"/>
                  </a:lnTo>
                  <a:lnTo>
                    <a:pt x="0" y="3659521"/>
                  </a:lnTo>
                  <a:lnTo>
                    <a:pt x="2728586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Прямоугольник 2">
              <a:extLst>
                <a:ext uri="{FF2B5EF4-FFF2-40B4-BE49-F238E27FC236}">
                  <a16:creationId xmlns="" xmlns:a16="http://schemas.microsoft.com/office/drawing/2014/main" id="{E5BB677D-8680-DDC8-96D4-94CF8DC9FAC1}"/>
                </a:ext>
              </a:extLst>
            </p:cNvPr>
            <p:cNvSpPr/>
            <p:nvPr userDrawn="1"/>
          </p:nvSpPr>
          <p:spPr>
            <a:xfrm>
              <a:off x="10287445" y="1377427"/>
              <a:ext cx="1232776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8626" h="3659521">
                  <a:moveTo>
                    <a:pt x="2747535" y="6299"/>
                  </a:moveTo>
                  <a:lnTo>
                    <a:pt x="3678626" y="0"/>
                  </a:lnTo>
                  <a:lnTo>
                    <a:pt x="952642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" name="Прямоугольник 2">
              <a:extLst>
                <a:ext uri="{FF2B5EF4-FFF2-40B4-BE49-F238E27FC236}">
                  <a16:creationId xmlns="" xmlns:a16="http://schemas.microsoft.com/office/drawing/2014/main" id="{944E8809-ABAF-574E-41B8-29348CF8A110}"/>
                </a:ext>
              </a:extLst>
            </p:cNvPr>
            <p:cNvSpPr/>
            <p:nvPr userDrawn="1"/>
          </p:nvSpPr>
          <p:spPr>
            <a:xfrm>
              <a:off x="10906570" y="1377427"/>
              <a:ext cx="1175626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8090" h="3659521">
                  <a:moveTo>
                    <a:pt x="2747535" y="6299"/>
                  </a:moveTo>
                  <a:lnTo>
                    <a:pt x="3508090" y="0"/>
                  </a:lnTo>
                  <a:lnTo>
                    <a:pt x="782106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Прямоугольник 2">
              <a:extLst>
                <a:ext uri="{FF2B5EF4-FFF2-40B4-BE49-F238E27FC236}">
                  <a16:creationId xmlns="" xmlns:a16="http://schemas.microsoft.com/office/drawing/2014/main" id="{A77A7A27-FC04-AB82-5B7B-877BE650A89E}"/>
                </a:ext>
              </a:extLst>
            </p:cNvPr>
            <p:cNvSpPr/>
            <p:nvPr userDrawn="1"/>
          </p:nvSpPr>
          <p:spPr>
            <a:xfrm>
              <a:off x="11500294" y="1376362"/>
              <a:ext cx="1007351" cy="1225873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  <a:gd name="connsiteX0" fmla="*/ 2103285 w 2863840"/>
                <a:gd name="connsiteY0" fmla="*/ 6299 h 3654851"/>
                <a:gd name="connsiteX1" fmla="*/ 2863840 w 2863840"/>
                <a:gd name="connsiteY1" fmla="*/ 0 h 3654851"/>
                <a:gd name="connsiteX2" fmla="*/ 137856 w 2863840"/>
                <a:gd name="connsiteY2" fmla="*/ 3654851 h 3654851"/>
                <a:gd name="connsiteX3" fmla="*/ 0 w 2863840"/>
                <a:gd name="connsiteY3" fmla="*/ 3536356 h 3654851"/>
                <a:gd name="connsiteX4" fmla="*/ 2103285 w 2863840"/>
                <a:gd name="connsiteY4" fmla="*/ 6299 h 3654851"/>
                <a:gd name="connsiteX0" fmla="*/ 2216976 w 2977531"/>
                <a:gd name="connsiteY0" fmla="*/ 6299 h 3654851"/>
                <a:gd name="connsiteX1" fmla="*/ 2977531 w 2977531"/>
                <a:gd name="connsiteY1" fmla="*/ 0 h 3654851"/>
                <a:gd name="connsiteX2" fmla="*/ 251547 w 2977531"/>
                <a:gd name="connsiteY2" fmla="*/ 3654851 h 3654851"/>
                <a:gd name="connsiteX3" fmla="*/ 0 w 2977531"/>
                <a:gd name="connsiteY3" fmla="*/ 3631098 h 3654851"/>
                <a:gd name="connsiteX4" fmla="*/ 2216976 w 2977531"/>
                <a:gd name="connsiteY4" fmla="*/ 6299 h 3654851"/>
                <a:gd name="connsiteX0" fmla="*/ 2008542 w 2769097"/>
                <a:gd name="connsiteY0" fmla="*/ 6299 h 3654851"/>
                <a:gd name="connsiteX1" fmla="*/ 2769097 w 2769097"/>
                <a:gd name="connsiteY1" fmla="*/ 0 h 3654851"/>
                <a:gd name="connsiteX2" fmla="*/ 43113 w 2769097"/>
                <a:gd name="connsiteY2" fmla="*/ 3654851 h 3654851"/>
                <a:gd name="connsiteX3" fmla="*/ 0 w 2769097"/>
                <a:gd name="connsiteY3" fmla="*/ 3242654 h 3654851"/>
                <a:gd name="connsiteX4" fmla="*/ 2008542 w 2769097"/>
                <a:gd name="connsiteY4" fmla="*/ 6299 h 3654851"/>
                <a:gd name="connsiteX0" fmla="*/ 2245398 w 3005953"/>
                <a:gd name="connsiteY0" fmla="*/ 6299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245398 w 3005953"/>
                <a:gd name="connsiteY4" fmla="*/ 6299 h 3654851"/>
                <a:gd name="connsiteX0" fmla="*/ 2633843 w 3005953"/>
                <a:gd name="connsiteY0" fmla="*/ 15774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633843 w 3005953"/>
                <a:gd name="connsiteY4" fmla="*/ 15774 h 3654851"/>
                <a:gd name="connsiteX0" fmla="*/ 2794905 w 3005953"/>
                <a:gd name="connsiteY0" fmla="*/ 25248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794905 w 3005953"/>
                <a:gd name="connsiteY4" fmla="*/ 25248 h 3654851"/>
                <a:gd name="connsiteX0" fmla="*/ 2757008 w 3005953"/>
                <a:gd name="connsiteY0" fmla="*/ 0 h 3658026"/>
                <a:gd name="connsiteX1" fmla="*/ 3005953 w 3005953"/>
                <a:gd name="connsiteY1" fmla="*/ 3175 h 3658026"/>
                <a:gd name="connsiteX2" fmla="*/ 279969 w 3005953"/>
                <a:gd name="connsiteY2" fmla="*/ 3658026 h 3658026"/>
                <a:gd name="connsiteX3" fmla="*/ 0 w 3005953"/>
                <a:gd name="connsiteY3" fmla="*/ 3653222 h 3658026"/>
                <a:gd name="connsiteX4" fmla="*/ 2757008 w 3005953"/>
                <a:gd name="connsiteY4" fmla="*/ 0 h 3658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5953" h="3658026">
                  <a:moveTo>
                    <a:pt x="2757008" y="0"/>
                  </a:moveTo>
                  <a:lnTo>
                    <a:pt x="3005953" y="3175"/>
                  </a:lnTo>
                  <a:lnTo>
                    <a:pt x="279969" y="3658026"/>
                  </a:lnTo>
                  <a:lnTo>
                    <a:pt x="0" y="3653222"/>
                  </a:lnTo>
                  <a:lnTo>
                    <a:pt x="2757008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40A1C9D-1393-2829-F295-F35E4F037A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74713" y="1818288"/>
            <a:ext cx="7813675" cy="2785241"/>
          </a:xfrm>
        </p:spPr>
        <p:txBody>
          <a:bodyPr anchor="t">
            <a:normAutofit/>
          </a:bodyPr>
          <a:lstStyle>
            <a:lvl1pPr algn="l">
              <a:defRPr sz="4800">
                <a:ln w="15875" cap="sq">
                  <a:solidFill>
                    <a:schemeClr val="bg1"/>
                  </a:solidFill>
                  <a:miter lim="800000"/>
                </a:ln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/ ЗАГОЛОВОК ЗАГЛАВНЫМИ</a:t>
            </a:r>
            <a:br>
              <a:rPr lang="ru-RU" dirty="0"/>
            </a:br>
            <a:r>
              <a:rPr lang="ru-RU" dirty="0"/>
              <a:t>БУКВАМИ МАКСИМУМ</a:t>
            </a:r>
            <a:br>
              <a:rPr lang="ru-RU" dirty="0"/>
            </a:br>
            <a:r>
              <a:rPr lang="ru-RU" dirty="0"/>
              <a:t>4 СТРОК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C63BDE24-C031-D378-717E-89E36F6EDC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74713" y="5277997"/>
            <a:ext cx="7813675" cy="706878"/>
          </a:xfrm>
        </p:spPr>
        <p:txBody>
          <a:bodyPr/>
          <a:lstStyle>
            <a:lvl1pPr marL="0" indent="0" algn="l">
              <a:buNone/>
              <a:defRPr sz="24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3D6DEBFD-6163-B06F-EF46-78A48860E3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5613" y="5461864"/>
            <a:ext cx="2403475" cy="523011"/>
          </a:xfrm>
          <a:prstGeom prst="rect">
            <a:avLst/>
          </a:prstGeom>
        </p:spPr>
      </p:pic>
      <p:grpSp>
        <p:nvGrpSpPr>
          <p:cNvPr id="16" name="Группа 15">
            <a:extLst>
              <a:ext uri="{FF2B5EF4-FFF2-40B4-BE49-F238E27FC236}">
                <a16:creationId xmlns="" xmlns:a16="http://schemas.microsoft.com/office/drawing/2014/main" id="{8962D65E-3000-8167-E4DC-9F0655AABB85}"/>
              </a:ext>
            </a:extLst>
          </p:cNvPr>
          <p:cNvGrpSpPr/>
          <p:nvPr userDrawn="1"/>
        </p:nvGrpSpPr>
        <p:grpSpPr>
          <a:xfrm>
            <a:off x="874713" y="551990"/>
            <a:ext cx="45719" cy="272382"/>
            <a:chOff x="1046163" y="441325"/>
            <a:chExt cx="45719" cy="272382"/>
          </a:xfrm>
          <a:solidFill>
            <a:schemeClr val="tx1"/>
          </a:solidFill>
        </p:grpSpPr>
        <p:sp>
          <p:nvSpPr>
            <p:cNvPr id="17" name="Прямоугольник 16">
              <a:extLst>
                <a:ext uri="{FF2B5EF4-FFF2-40B4-BE49-F238E27FC236}">
                  <a16:creationId xmlns="" xmlns:a16="http://schemas.microsoft.com/office/drawing/2014/main" id="{7138E7FC-EAFE-2F61-E3D0-E4CA25F78D5C}"/>
                </a:ext>
              </a:extLst>
            </p:cNvPr>
            <p:cNvSpPr/>
            <p:nvPr userDrawn="1"/>
          </p:nvSpPr>
          <p:spPr>
            <a:xfrm>
              <a:off x="1046163" y="441325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="" xmlns:a16="http://schemas.microsoft.com/office/drawing/2014/main" id="{333448DB-152E-FD22-32C2-388CB0CAEAC8}"/>
                </a:ext>
              </a:extLst>
            </p:cNvPr>
            <p:cNvSpPr/>
            <p:nvPr userDrawn="1"/>
          </p:nvSpPr>
          <p:spPr>
            <a:xfrm>
              <a:off x="1046163" y="554657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="" xmlns:a16="http://schemas.microsoft.com/office/drawing/2014/main" id="{E431F110-256C-9C8B-EE94-9206505C7899}"/>
                </a:ext>
              </a:extLst>
            </p:cNvPr>
            <p:cNvSpPr/>
            <p:nvPr userDrawn="1"/>
          </p:nvSpPr>
          <p:spPr>
            <a:xfrm>
              <a:off x="1046163" y="667988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3254168430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>
          <p15:clr>
            <a:srgbClr val="A4A3A4"/>
          </p15:clr>
        </p15:guide>
        <p15:guide id="2" pos="279">
          <p15:clr>
            <a:srgbClr val="A4A3A4"/>
          </p15:clr>
        </p15:guide>
        <p15:guide id="3" pos="551">
          <p15:clr>
            <a:srgbClr val="A4A3A4"/>
          </p15:clr>
        </p15:guide>
        <p15:guide id="4" pos="1096">
          <p15:clr>
            <a:srgbClr val="A4A3A4"/>
          </p15:clr>
        </p15:guide>
        <p15:guide id="5" pos="1640">
          <p15:clr>
            <a:srgbClr val="A4A3A4"/>
          </p15:clr>
        </p15:guide>
        <p15:guide id="6" pos="2184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>
          <p15:clr>
            <a:srgbClr val="A4A3A4"/>
          </p15:clr>
        </p15:guide>
        <p15:guide id="9" pos="3840">
          <p15:clr>
            <a:srgbClr val="A4A3A4"/>
          </p15:clr>
        </p15:guide>
        <p15:guide id="10" pos="4384">
          <p15:clr>
            <a:srgbClr val="A4A3A4"/>
          </p15:clr>
        </p15:guide>
        <p15:guide id="11" pos="4929">
          <p15:clr>
            <a:srgbClr val="A4A3A4"/>
          </p15:clr>
        </p15:guide>
        <p15:guide id="12" pos="5473">
          <p15:clr>
            <a:srgbClr val="A4A3A4"/>
          </p15:clr>
        </p15:guide>
        <p15:guide id="13" pos="6040">
          <p15:clr>
            <a:srgbClr val="A4A3A4"/>
          </p15:clr>
        </p15:guide>
        <p15:guide id="14" pos="6584">
          <p15:clr>
            <a:srgbClr val="A4A3A4"/>
          </p15:clr>
        </p15:guide>
        <p15:guide id="15" pos="7129">
          <p15:clr>
            <a:srgbClr val="A4A3A4"/>
          </p15:clr>
        </p15:guide>
        <p15:guide id="16" pos="7401">
          <p15:clr>
            <a:srgbClr val="A4A3A4"/>
          </p15:clr>
        </p15:guide>
        <p15:guide id="17" orient="horz" pos="550">
          <p15:clr>
            <a:srgbClr val="A4A3A4"/>
          </p15:clr>
        </p15:guide>
        <p15:guide id="18" orient="horz" pos="3770">
          <p15:clr>
            <a:srgbClr val="A4A3A4"/>
          </p15:clr>
        </p15:guide>
        <p15:guide id="19" orient="horz" pos="4042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оутбу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B710BAF6-41C9-669F-E991-45AF569F25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359" y="445892"/>
            <a:ext cx="2403475" cy="523011"/>
          </a:xfrm>
          <a:prstGeom prst="rect">
            <a:avLst/>
          </a:prstGeom>
        </p:spPr>
      </p:pic>
      <p:sp>
        <p:nvSpPr>
          <p:cNvPr id="5" name="Рисунок 3">
            <a:extLst>
              <a:ext uri="{FF2B5EF4-FFF2-40B4-BE49-F238E27FC236}">
                <a16:creationId xmlns="" xmlns:a16="http://schemas.microsoft.com/office/drawing/2014/main" id="{FC745062-B8C3-3AC1-7939-5CF98748173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161085" y="2603845"/>
            <a:ext cx="5640516" cy="3401303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lang="ru-RU" sz="2400" u="none" kern="1200" spc="100" baseline="0" dirty="0">
                <a:ln cap="sq">
                  <a:noFill/>
                  <a:miter lim="800000"/>
                </a:ln>
                <a:solidFill>
                  <a:schemeClr val="tx1"/>
                </a:solidFill>
                <a:highlight>
                  <a:srgbClr val="E5E5E5"/>
                </a:highligh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ВСТАВЬТЕ</a:t>
            </a:r>
            <a:br>
              <a:rPr lang="ru-RU" dirty="0"/>
            </a:br>
            <a:r>
              <a:rPr lang="ru-RU" dirty="0"/>
              <a:t>СНИМОК ЭКРАНА</a:t>
            </a:r>
          </a:p>
        </p:txBody>
      </p:sp>
      <p:sp>
        <p:nvSpPr>
          <p:cNvPr id="16" name="Заголовок 7">
            <a:extLst>
              <a:ext uri="{FF2B5EF4-FFF2-40B4-BE49-F238E27FC236}">
                <a16:creationId xmlns="" xmlns:a16="http://schemas.microsoft.com/office/drawing/2014/main" id="{DA1B279C-0C95-8D45-6C4F-1C3D7F3900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37" y="365125"/>
            <a:ext cx="7919551" cy="1325563"/>
          </a:xfrm>
        </p:spPr>
        <p:txBody>
          <a:bodyPr anchor="t">
            <a:normAutofit/>
          </a:bodyPr>
          <a:lstStyle>
            <a:lvl1pPr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/ </a:t>
            </a:r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ЗАГЛАВНЫЕ</a:t>
            </a:r>
            <a:br>
              <a:rPr lang="ru-RU" dirty="0"/>
            </a:br>
            <a:r>
              <a:rPr lang="ru-RU" dirty="0"/>
              <a:t>БУКВЫ</a:t>
            </a:r>
          </a:p>
        </p:txBody>
      </p:sp>
      <p:sp>
        <p:nvSpPr>
          <p:cNvPr id="17" name="Объект 2">
            <a:extLst>
              <a:ext uri="{FF2B5EF4-FFF2-40B4-BE49-F238E27FC236}">
                <a16:creationId xmlns="" xmlns:a16="http://schemas.microsoft.com/office/drawing/2014/main" id="{0548AD97-5DF3-A575-5843-8C42C6A890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4344" y="2878281"/>
            <a:ext cx="5326614" cy="3538393"/>
          </a:xfrm>
        </p:spPr>
        <p:txBody>
          <a:bodyPr>
            <a:normAutofit/>
          </a:bodyPr>
          <a:lstStyle>
            <a:lvl1pPr marL="0" indent="0">
              <a:buNone/>
              <a:defRPr sz="1400" b="0" i="0" spc="0" baseline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b="0" i="0">
                <a:latin typeface="FSRAILWAY Book" panose="020B0503040504020204" pitchFamily="34" charset="0"/>
              </a:defRPr>
            </a:lvl2pPr>
            <a:lvl3pPr>
              <a:defRPr b="0" i="0">
                <a:latin typeface="FSRAILWAY Book" panose="020B0503040504020204" pitchFamily="34" charset="0"/>
              </a:defRPr>
            </a:lvl3pPr>
            <a:lvl4pPr>
              <a:defRPr b="0" i="0">
                <a:latin typeface="FSRAILWAY Book" panose="020B0503040504020204" pitchFamily="34" charset="0"/>
              </a:defRPr>
            </a:lvl4pPr>
            <a:lvl5pPr>
              <a:defRPr b="0" i="0">
                <a:latin typeface="FSRAILWAY Book" panose="020B0503040504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Текст 4">
            <a:extLst>
              <a:ext uri="{FF2B5EF4-FFF2-40B4-BE49-F238E27FC236}">
                <a16:creationId xmlns="" xmlns:a16="http://schemas.microsoft.com/office/drawing/2014/main" id="{C0325142-9CF9-AE03-7CA1-D27EC783EE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838" y="2223471"/>
            <a:ext cx="5321262" cy="53250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 b="1" i="0" spc="1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РОТКОЕ ДОПОЛНЕНИЕ К ЗАГОЛОВКУ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38722701-80CF-3820-07A0-321A411E656A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15308920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29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нобл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B710BAF6-41C9-669F-E991-45AF569F25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359" y="445892"/>
            <a:ext cx="2403475" cy="523011"/>
          </a:xfrm>
          <a:prstGeom prst="rect">
            <a:avLst/>
          </a:prstGeom>
        </p:spPr>
      </p:pic>
      <p:sp>
        <p:nvSpPr>
          <p:cNvPr id="5" name="Рисунок 3">
            <a:extLst>
              <a:ext uri="{FF2B5EF4-FFF2-40B4-BE49-F238E27FC236}">
                <a16:creationId xmlns="" xmlns:a16="http://schemas.microsoft.com/office/drawing/2014/main" id="{FC745062-B8C3-3AC1-7939-5CF98748173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32528" y="2428876"/>
            <a:ext cx="4911722" cy="277495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lang="ru-RU" sz="2400" u="none" kern="1200" spc="100" baseline="0" dirty="0">
                <a:ln cap="sq">
                  <a:noFill/>
                  <a:miter lim="800000"/>
                </a:ln>
                <a:solidFill>
                  <a:schemeClr val="tx1"/>
                </a:solidFill>
                <a:highlight>
                  <a:srgbClr val="E5E5E5"/>
                </a:highligh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ВСТАВЬТЕ</a:t>
            </a:r>
            <a:br>
              <a:rPr lang="ru-RU" dirty="0"/>
            </a:br>
            <a:r>
              <a:rPr lang="ru-RU" dirty="0"/>
              <a:t>СНИМОК ЭКРАНА</a:t>
            </a:r>
          </a:p>
        </p:txBody>
      </p:sp>
      <p:sp>
        <p:nvSpPr>
          <p:cNvPr id="7" name="Заголовок 7">
            <a:extLst>
              <a:ext uri="{FF2B5EF4-FFF2-40B4-BE49-F238E27FC236}">
                <a16:creationId xmlns="" xmlns:a16="http://schemas.microsoft.com/office/drawing/2014/main" id="{18486461-018C-DC28-6263-FE98A650BF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37" y="365125"/>
            <a:ext cx="7919551" cy="1325563"/>
          </a:xfrm>
        </p:spPr>
        <p:txBody>
          <a:bodyPr anchor="t">
            <a:normAutofit/>
          </a:bodyPr>
          <a:lstStyle>
            <a:lvl1pPr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/ </a:t>
            </a:r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ЗАГЛАВНЫЕ</a:t>
            </a:r>
            <a:br>
              <a:rPr lang="ru-RU" dirty="0"/>
            </a:br>
            <a:r>
              <a:rPr lang="ru-RU" dirty="0"/>
              <a:t>БУКВЫ</a:t>
            </a:r>
          </a:p>
        </p:txBody>
      </p:sp>
      <p:sp>
        <p:nvSpPr>
          <p:cNvPr id="8" name="Объект 2">
            <a:extLst>
              <a:ext uri="{FF2B5EF4-FFF2-40B4-BE49-F238E27FC236}">
                <a16:creationId xmlns="" xmlns:a16="http://schemas.microsoft.com/office/drawing/2014/main" id="{A943B184-9BDF-31EE-E3EC-081E7E3CE46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64344" y="2878281"/>
            <a:ext cx="4537419" cy="3538393"/>
          </a:xfrm>
        </p:spPr>
        <p:txBody>
          <a:bodyPr>
            <a:normAutofit/>
          </a:bodyPr>
          <a:lstStyle>
            <a:lvl1pPr marL="0" indent="0">
              <a:buNone/>
              <a:defRPr sz="1400" b="0" i="0" spc="0" baseline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b="0" i="0">
                <a:latin typeface="FSRAILWAY Book" panose="020B0503040504020204" pitchFamily="34" charset="0"/>
              </a:defRPr>
            </a:lvl2pPr>
            <a:lvl3pPr>
              <a:defRPr b="0" i="0">
                <a:latin typeface="FSRAILWAY Book" panose="020B0503040504020204" pitchFamily="34" charset="0"/>
              </a:defRPr>
            </a:lvl3pPr>
            <a:lvl4pPr>
              <a:defRPr b="0" i="0">
                <a:latin typeface="FSRAILWAY Book" panose="020B0503040504020204" pitchFamily="34" charset="0"/>
              </a:defRPr>
            </a:lvl4pPr>
            <a:lvl5pPr>
              <a:defRPr b="0" i="0">
                <a:latin typeface="FSRAILWAY Book" panose="020B0503040504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4">
            <a:extLst>
              <a:ext uri="{FF2B5EF4-FFF2-40B4-BE49-F238E27FC236}">
                <a16:creationId xmlns="" xmlns:a16="http://schemas.microsoft.com/office/drawing/2014/main" id="{53011B2A-25A2-C713-64E5-B019B9BB9DB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838" y="2223471"/>
            <a:ext cx="4532860" cy="53250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 b="1" i="0" spc="1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РОТКОЕ ДОПОЛНЕНИЕ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К ЗАГОЛОВКУ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0682567E-6CAD-9C28-0027-CB54B38BC028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24380099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29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нито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B710BAF6-41C9-669F-E991-45AF569F25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359" y="445892"/>
            <a:ext cx="2403475" cy="523011"/>
          </a:xfrm>
          <a:prstGeom prst="rect">
            <a:avLst/>
          </a:prstGeom>
        </p:spPr>
      </p:pic>
      <p:sp>
        <p:nvSpPr>
          <p:cNvPr id="5" name="Рисунок 3">
            <a:extLst>
              <a:ext uri="{FF2B5EF4-FFF2-40B4-BE49-F238E27FC236}">
                <a16:creationId xmlns="" xmlns:a16="http://schemas.microsoft.com/office/drawing/2014/main" id="{FC745062-B8C3-3AC1-7939-5CF98748173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94941" y="2393619"/>
            <a:ext cx="4986893" cy="3107071"/>
          </a:xfrm>
          <a:prstGeom prst="roundRect">
            <a:avLst>
              <a:gd name="adj" fmla="val 930"/>
            </a:avLst>
          </a:prstGeo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lang="ru-RU" sz="2400" u="none" kern="1200" spc="100" baseline="0" dirty="0">
                <a:ln cap="sq">
                  <a:noFill/>
                  <a:miter lim="800000"/>
                </a:ln>
                <a:solidFill>
                  <a:schemeClr val="tx1"/>
                </a:solidFill>
                <a:highlight>
                  <a:srgbClr val="E5E5E5"/>
                </a:highligh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ВСТАВЬТЕ</a:t>
            </a:r>
            <a:br>
              <a:rPr lang="ru-RU" dirty="0"/>
            </a:br>
            <a:r>
              <a:rPr lang="ru-RU" dirty="0"/>
              <a:t>СНИМОК ЭКРАНА</a:t>
            </a:r>
          </a:p>
        </p:txBody>
      </p:sp>
      <p:sp>
        <p:nvSpPr>
          <p:cNvPr id="7" name="Заголовок 7">
            <a:extLst>
              <a:ext uri="{FF2B5EF4-FFF2-40B4-BE49-F238E27FC236}">
                <a16:creationId xmlns="" xmlns:a16="http://schemas.microsoft.com/office/drawing/2014/main" id="{B1741FBE-1A7B-2E70-37F3-994BB65271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37" y="365125"/>
            <a:ext cx="7919551" cy="1325563"/>
          </a:xfrm>
        </p:spPr>
        <p:txBody>
          <a:bodyPr anchor="t">
            <a:normAutofit/>
          </a:bodyPr>
          <a:lstStyle>
            <a:lvl1pPr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/ </a:t>
            </a:r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ЗАГЛАВНЫЕ</a:t>
            </a:r>
            <a:br>
              <a:rPr lang="ru-RU" dirty="0"/>
            </a:br>
            <a:r>
              <a:rPr lang="ru-RU" dirty="0"/>
              <a:t>БУКВЫ</a:t>
            </a:r>
          </a:p>
        </p:txBody>
      </p:sp>
      <p:sp>
        <p:nvSpPr>
          <p:cNvPr id="8" name="Объект 2">
            <a:extLst>
              <a:ext uri="{FF2B5EF4-FFF2-40B4-BE49-F238E27FC236}">
                <a16:creationId xmlns="" xmlns:a16="http://schemas.microsoft.com/office/drawing/2014/main" id="{C88F3FA4-D370-831B-CFB1-44EA1A9E6FD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64344" y="2878281"/>
            <a:ext cx="4537419" cy="3538393"/>
          </a:xfrm>
        </p:spPr>
        <p:txBody>
          <a:bodyPr>
            <a:normAutofit/>
          </a:bodyPr>
          <a:lstStyle>
            <a:lvl1pPr marL="0" indent="0">
              <a:buNone/>
              <a:defRPr sz="1400" b="0" i="0" spc="0" baseline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b="0" i="0">
                <a:latin typeface="FSRAILWAY Book" panose="020B0503040504020204" pitchFamily="34" charset="0"/>
              </a:defRPr>
            </a:lvl2pPr>
            <a:lvl3pPr>
              <a:defRPr b="0" i="0">
                <a:latin typeface="FSRAILWAY Book" panose="020B0503040504020204" pitchFamily="34" charset="0"/>
              </a:defRPr>
            </a:lvl3pPr>
            <a:lvl4pPr>
              <a:defRPr b="0" i="0">
                <a:latin typeface="FSRAILWAY Book" panose="020B0503040504020204" pitchFamily="34" charset="0"/>
              </a:defRPr>
            </a:lvl4pPr>
            <a:lvl5pPr>
              <a:defRPr b="0" i="0">
                <a:latin typeface="FSRAILWAY Book" panose="020B0503040504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4">
            <a:extLst>
              <a:ext uri="{FF2B5EF4-FFF2-40B4-BE49-F238E27FC236}">
                <a16:creationId xmlns="" xmlns:a16="http://schemas.microsoft.com/office/drawing/2014/main" id="{1A63CABE-F599-F3C5-AFDC-0D37CFF1BC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838" y="2223471"/>
            <a:ext cx="4532860" cy="53250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 b="1" i="0" spc="1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РОТКОЕ ДОПОЛНЕНИЕ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К ЗАГОЛОВКУ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03FE0693-57B1-93A0-6095-01CE8E9D160C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22415267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29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кра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B710BAF6-41C9-669F-E991-45AF569F25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359" y="445892"/>
            <a:ext cx="2403475" cy="523011"/>
          </a:xfrm>
          <a:prstGeom prst="rect">
            <a:avLst/>
          </a:prstGeom>
        </p:spPr>
      </p:pic>
      <p:sp>
        <p:nvSpPr>
          <p:cNvPr id="5" name="Рисунок 3">
            <a:extLst>
              <a:ext uri="{FF2B5EF4-FFF2-40B4-BE49-F238E27FC236}">
                <a16:creationId xmlns="" xmlns:a16="http://schemas.microsoft.com/office/drawing/2014/main" id="{FC745062-B8C3-3AC1-7939-5CF98748173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84220" y="2156496"/>
            <a:ext cx="6356830" cy="3641393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lang="ru-RU" sz="2400" u="none" kern="1200" spc="100" baseline="0" dirty="0">
                <a:ln cap="sq">
                  <a:noFill/>
                  <a:miter lim="800000"/>
                </a:ln>
                <a:solidFill>
                  <a:schemeClr val="tx1"/>
                </a:solidFill>
                <a:highlight>
                  <a:srgbClr val="E5E5E5"/>
                </a:highligh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ВСТАВЬТЕ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7" name="Заголовок 7">
            <a:extLst>
              <a:ext uri="{FF2B5EF4-FFF2-40B4-BE49-F238E27FC236}">
                <a16:creationId xmlns="" xmlns:a16="http://schemas.microsoft.com/office/drawing/2014/main" id="{5FE2C845-FF7B-AB21-17C3-4D0109950B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37" y="365125"/>
            <a:ext cx="7919551" cy="1325563"/>
          </a:xfrm>
        </p:spPr>
        <p:txBody>
          <a:bodyPr anchor="t">
            <a:normAutofit/>
          </a:bodyPr>
          <a:lstStyle>
            <a:lvl1pPr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/ </a:t>
            </a:r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ЗАГЛАВНЫЕ</a:t>
            </a:r>
            <a:br>
              <a:rPr lang="ru-RU" dirty="0"/>
            </a:br>
            <a:r>
              <a:rPr lang="ru-RU" dirty="0"/>
              <a:t>БУКВЫ</a:t>
            </a:r>
          </a:p>
        </p:txBody>
      </p:sp>
      <p:sp>
        <p:nvSpPr>
          <p:cNvPr id="8" name="Объект 2">
            <a:extLst>
              <a:ext uri="{FF2B5EF4-FFF2-40B4-BE49-F238E27FC236}">
                <a16:creationId xmlns="" xmlns:a16="http://schemas.microsoft.com/office/drawing/2014/main" id="{07980441-729E-FF23-1FE8-C59F749CFD5B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64344" y="2878281"/>
            <a:ext cx="3143115" cy="3538393"/>
          </a:xfrm>
        </p:spPr>
        <p:txBody>
          <a:bodyPr>
            <a:normAutofit/>
          </a:bodyPr>
          <a:lstStyle>
            <a:lvl1pPr marL="0" indent="0">
              <a:buNone/>
              <a:defRPr sz="1400" b="0" i="0" spc="0" baseline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b="0" i="0">
                <a:latin typeface="FSRAILWAY Book" panose="020B0503040504020204" pitchFamily="34" charset="0"/>
              </a:defRPr>
            </a:lvl2pPr>
            <a:lvl3pPr>
              <a:defRPr b="0" i="0">
                <a:latin typeface="FSRAILWAY Book" panose="020B0503040504020204" pitchFamily="34" charset="0"/>
              </a:defRPr>
            </a:lvl3pPr>
            <a:lvl4pPr>
              <a:defRPr b="0" i="0">
                <a:latin typeface="FSRAILWAY Book" panose="020B0503040504020204" pitchFamily="34" charset="0"/>
              </a:defRPr>
            </a:lvl4pPr>
            <a:lvl5pPr>
              <a:defRPr b="0" i="0">
                <a:latin typeface="FSRAILWAY Book" panose="020B0503040504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4">
            <a:extLst>
              <a:ext uri="{FF2B5EF4-FFF2-40B4-BE49-F238E27FC236}">
                <a16:creationId xmlns="" xmlns:a16="http://schemas.microsoft.com/office/drawing/2014/main" id="{2AB8BFF9-6CAE-5807-26EE-680C3EAB1B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8838" y="2223471"/>
            <a:ext cx="3139957" cy="53250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 b="1" i="0" spc="1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РОТКИЙ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ЗАГОЛОВОК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FED4E2BB-052B-61A2-3FE9-E1557BE4F746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24688877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29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тбивка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327C95A8-98BA-A0AA-0D0A-556CD40EF8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4713" y="868177"/>
            <a:ext cx="8732346" cy="5116698"/>
          </a:xfrm>
        </p:spPr>
        <p:txBody>
          <a:bodyPr anchor="ctr">
            <a:normAutofit/>
          </a:bodyPr>
          <a:lstStyle>
            <a:lvl1pPr marL="0" indent="0">
              <a:lnSpc>
                <a:spcPts val="7000"/>
              </a:lnSpc>
              <a:spcBef>
                <a:spcPts val="600"/>
              </a:spcBef>
              <a:spcAft>
                <a:spcPts val="600"/>
              </a:spcAft>
              <a:buNone/>
              <a:defRPr sz="7000" b="0" i="0" spc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b="0" i="0">
                <a:latin typeface="FSRAILWAY Book" panose="020B0503040504020204" pitchFamily="34" charset="0"/>
              </a:defRPr>
            </a:lvl2pPr>
            <a:lvl3pPr>
              <a:defRPr b="0" i="0">
                <a:latin typeface="FSRAILWAY Book" panose="020B0503040504020204" pitchFamily="34" charset="0"/>
              </a:defRPr>
            </a:lvl3pPr>
            <a:lvl4pPr>
              <a:defRPr b="0" i="0">
                <a:latin typeface="FSRAILWAY Book" panose="020B0503040504020204" pitchFamily="34" charset="0"/>
              </a:defRPr>
            </a:lvl4pPr>
            <a:lvl5pPr>
              <a:defRPr b="0" i="0">
                <a:latin typeface="FSRAILWAY Book" panose="020B0503040504020204" pitchFamily="34" charset="0"/>
              </a:defRPr>
            </a:lvl5pPr>
          </a:lstStyle>
          <a:p>
            <a:pPr lvl="0"/>
            <a:r>
              <a:rPr lang="ru-RU" dirty="0"/>
              <a:t>Используйте </a:t>
            </a:r>
            <a:r>
              <a:rPr lang="en-US" dirty="0"/>
              <a:t>Enter </a:t>
            </a:r>
            <a:r>
              <a:rPr lang="ru-RU" dirty="0"/>
              <a:t>для выделения слова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="" xmlns:a16="http://schemas.microsoft.com/office/drawing/2014/main" id="{4A905702-EA6D-C4D1-FA25-88ADE31D55FE}"/>
              </a:ext>
            </a:extLst>
          </p:cNvPr>
          <p:cNvGrpSpPr/>
          <p:nvPr userDrawn="1"/>
        </p:nvGrpSpPr>
        <p:grpSpPr>
          <a:xfrm>
            <a:off x="9249621" y="4480109"/>
            <a:ext cx="2503213" cy="1936566"/>
            <a:chOff x="704576" y="4524928"/>
            <a:chExt cx="2503213" cy="1936566"/>
          </a:xfrm>
          <a:solidFill>
            <a:schemeClr val="bg1">
              <a:lumMod val="85000"/>
            </a:schemeClr>
          </a:solidFill>
        </p:grpSpPr>
        <p:sp>
          <p:nvSpPr>
            <p:cNvPr id="16" name="Прямоугольник 2">
              <a:extLst>
                <a:ext uri="{FF2B5EF4-FFF2-40B4-BE49-F238E27FC236}">
                  <a16:creationId xmlns="" xmlns:a16="http://schemas.microsoft.com/office/drawing/2014/main" id="{09B901F4-1E4C-DAE6-8553-15F83E4E5D34}"/>
                </a:ext>
              </a:extLst>
            </p:cNvPr>
            <p:cNvSpPr/>
            <p:nvPr/>
          </p:nvSpPr>
          <p:spPr>
            <a:xfrm>
              <a:off x="704576" y="4902384"/>
              <a:ext cx="1196363" cy="1129083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7585" h="3659521">
                  <a:moveTo>
                    <a:pt x="2728586" y="6299"/>
                  </a:moveTo>
                  <a:lnTo>
                    <a:pt x="3877585" y="0"/>
                  </a:lnTo>
                  <a:lnTo>
                    <a:pt x="1123178" y="3654851"/>
                  </a:lnTo>
                  <a:lnTo>
                    <a:pt x="0" y="3659521"/>
                  </a:lnTo>
                  <a:lnTo>
                    <a:pt x="2728586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7" name="Прямоугольник 2">
              <a:extLst>
                <a:ext uri="{FF2B5EF4-FFF2-40B4-BE49-F238E27FC236}">
                  <a16:creationId xmlns="" xmlns:a16="http://schemas.microsoft.com/office/drawing/2014/main" id="{C45BAEC4-C2CB-6084-EDB2-DC9FA7BA95FA}"/>
                </a:ext>
              </a:extLst>
            </p:cNvPr>
            <p:cNvSpPr/>
            <p:nvPr/>
          </p:nvSpPr>
          <p:spPr>
            <a:xfrm>
              <a:off x="836438" y="4524928"/>
              <a:ext cx="761193" cy="757240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8626" h="3659521">
                  <a:moveTo>
                    <a:pt x="2747535" y="6299"/>
                  </a:moveTo>
                  <a:lnTo>
                    <a:pt x="3678626" y="0"/>
                  </a:lnTo>
                  <a:lnTo>
                    <a:pt x="952642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8" name="Прямоугольник 2">
              <a:extLst>
                <a:ext uri="{FF2B5EF4-FFF2-40B4-BE49-F238E27FC236}">
                  <a16:creationId xmlns="" xmlns:a16="http://schemas.microsoft.com/office/drawing/2014/main" id="{5129BE5B-040E-F018-D674-4AC61354A81E}"/>
                </a:ext>
              </a:extLst>
            </p:cNvPr>
            <p:cNvSpPr/>
            <p:nvPr/>
          </p:nvSpPr>
          <p:spPr>
            <a:xfrm>
              <a:off x="1129149" y="5900630"/>
              <a:ext cx="704655" cy="56086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  <a:gd name="connsiteX0" fmla="*/ 2747535 w 2747536"/>
                <a:gd name="connsiteY0" fmla="*/ 0 h 3653222"/>
                <a:gd name="connsiteX1" fmla="*/ 1571399 w 2747536"/>
                <a:gd name="connsiteY1" fmla="*/ 2477526 h 3653222"/>
                <a:gd name="connsiteX2" fmla="*/ 782106 w 2747536"/>
                <a:gd name="connsiteY2" fmla="*/ 3648552 h 3653222"/>
                <a:gd name="connsiteX3" fmla="*/ 0 w 2747536"/>
                <a:gd name="connsiteY3" fmla="*/ 3653222 h 3653222"/>
                <a:gd name="connsiteX4" fmla="*/ 2747535 w 2747536"/>
                <a:gd name="connsiteY4" fmla="*/ 0 h 3653222"/>
                <a:gd name="connsiteX0" fmla="*/ 1245081 w 1571399"/>
                <a:gd name="connsiteY0" fmla="*/ 0 h 1178081"/>
                <a:gd name="connsiteX1" fmla="*/ 1571399 w 1571399"/>
                <a:gd name="connsiteY1" fmla="*/ 2385 h 1178081"/>
                <a:gd name="connsiteX2" fmla="*/ 782106 w 1571399"/>
                <a:gd name="connsiteY2" fmla="*/ 1173411 h 1178081"/>
                <a:gd name="connsiteX3" fmla="*/ 0 w 1571399"/>
                <a:gd name="connsiteY3" fmla="*/ 1178081 h 1178081"/>
                <a:gd name="connsiteX4" fmla="*/ 1245081 w 1571399"/>
                <a:gd name="connsiteY4" fmla="*/ 0 h 1178081"/>
                <a:gd name="connsiteX0" fmla="*/ 1149549 w 1571399"/>
                <a:gd name="connsiteY0" fmla="*/ 0 h 1516785"/>
                <a:gd name="connsiteX1" fmla="*/ 1571399 w 1571399"/>
                <a:gd name="connsiteY1" fmla="*/ 341089 h 1516785"/>
                <a:gd name="connsiteX2" fmla="*/ 782106 w 1571399"/>
                <a:gd name="connsiteY2" fmla="*/ 1512115 h 1516785"/>
                <a:gd name="connsiteX3" fmla="*/ 0 w 1571399"/>
                <a:gd name="connsiteY3" fmla="*/ 1516785 h 1516785"/>
                <a:gd name="connsiteX4" fmla="*/ 1149549 w 1571399"/>
                <a:gd name="connsiteY4" fmla="*/ 0 h 1516785"/>
                <a:gd name="connsiteX0" fmla="*/ 1149549 w 1901418"/>
                <a:gd name="connsiteY0" fmla="*/ 6299 h 1523084"/>
                <a:gd name="connsiteX1" fmla="*/ 1901418 w 1901418"/>
                <a:gd name="connsiteY1" fmla="*/ 0 h 1523084"/>
                <a:gd name="connsiteX2" fmla="*/ 782106 w 1901418"/>
                <a:gd name="connsiteY2" fmla="*/ 1518414 h 1523084"/>
                <a:gd name="connsiteX3" fmla="*/ 0 w 1901418"/>
                <a:gd name="connsiteY3" fmla="*/ 1523084 h 1523084"/>
                <a:gd name="connsiteX4" fmla="*/ 1149549 w 1901418"/>
                <a:gd name="connsiteY4" fmla="*/ 6299 h 1523084"/>
                <a:gd name="connsiteX0" fmla="*/ 1158234 w 1901418"/>
                <a:gd name="connsiteY0" fmla="*/ 0 h 1690479"/>
                <a:gd name="connsiteX1" fmla="*/ 1901418 w 1901418"/>
                <a:gd name="connsiteY1" fmla="*/ 167395 h 1690479"/>
                <a:gd name="connsiteX2" fmla="*/ 782106 w 1901418"/>
                <a:gd name="connsiteY2" fmla="*/ 1685809 h 1690479"/>
                <a:gd name="connsiteX3" fmla="*/ 0 w 1901418"/>
                <a:gd name="connsiteY3" fmla="*/ 1690479 h 1690479"/>
                <a:gd name="connsiteX4" fmla="*/ 1158234 w 1901418"/>
                <a:gd name="connsiteY4" fmla="*/ 0 h 1690479"/>
                <a:gd name="connsiteX0" fmla="*/ 1210342 w 1901418"/>
                <a:gd name="connsiteY0" fmla="*/ 214732 h 1523084"/>
                <a:gd name="connsiteX1" fmla="*/ 1901418 w 1901418"/>
                <a:gd name="connsiteY1" fmla="*/ 0 h 1523084"/>
                <a:gd name="connsiteX2" fmla="*/ 782106 w 1901418"/>
                <a:gd name="connsiteY2" fmla="*/ 1518414 h 1523084"/>
                <a:gd name="connsiteX3" fmla="*/ 0 w 1901418"/>
                <a:gd name="connsiteY3" fmla="*/ 1523084 h 1523084"/>
                <a:gd name="connsiteX4" fmla="*/ 1210342 w 1901418"/>
                <a:gd name="connsiteY4" fmla="*/ 214732 h 1523084"/>
                <a:gd name="connsiteX0" fmla="*/ 1149549 w 1901418"/>
                <a:gd name="connsiteY0" fmla="*/ 0 h 1542839"/>
                <a:gd name="connsiteX1" fmla="*/ 1901418 w 1901418"/>
                <a:gd name="connsiteY1" fmla="*/ 19755 h 1542839"/>
                <a:gd name="connsiteX2" fmla="*/ 782106 w 1901418"/>
                <a:gd name="connsiteY2" fmla="*/ 1538169 h 1542839"/>
                <a:gd name="connsiteX3" fmla="*/ 0 w 1901418"/>
                <a:gd name="connsiteY3" fmla="*/ 1542839 h 1542839"/>
                <a:gd name="connsiteX4" fmla="*/ 1149549 w 1901418"/>
                <a:gd name="connsiteY4" fmla="*/ 0 h 1542839"/>
                <a:gd name="connsiteX0" fmla="*/ 1149549 w 1901418"/>
                <a:gd name="connsiteY0" fmla="*/ 0 h 1542839"/>
                <a:gd name="connsiteX1" fmla="*/ 1901418 w 1901418"/>
                <a:gd name="connsiteY1" fmla="*/ 19755 h 1542839"/>
                <a:gd name="connsiteX2" fmla="*/ 782106 w 1901418"/>
                <a:gd name="connsiteY2" fmla="*/ 1538169 h 1542839"/>
                <a:gd name="connsiteX3" fmla="*/ 0 w 1901418"/>
                <a:gd name="connsiteY3" fmla="*/ 1542839 h 1542839"/>
                <a:gd name="connsiteX4" fmla="*/ 1149549 w 1901418"/>
                <a:gd name="connsiteY4" fmla="*/ 0 h 1542839"/>
                <a:gd name="connsiteX0" fmla="*/ 1149549 w 1910103"/>
                <a:gd name="connsiteY0" fmla="*/ 0 h 1542839"/>
                <a:gd name="connsiteX1" fmla="*/ 1910103 w 1910103"/>
                <a:gd name="connsiteY1" fmla="*/ 2385 h 1542839"/>
                <a:gd name="connsiteX2" fmla="*/ 782106 w 1910103"/>
                <a:gd name="connsiteY2" fmla="*/ 1538169 h 1542839"/>
                <a:gd name="connsiteX3" fmla="*/ 0 w 1910103"/>
                <a:gd name="connsiteY3" fmla="*/ 1542839 h 1542839"/>
                <a:gd name="connsiteX4" fmla="*/ 1149549 w 1910103"/>
                <a:gd name="connsiteY4" fmla="*/ 0 h 1542839"/>
                <a:gd name="connsiteX0" fmla="*/ 1149549 w 1927472"/>
                <a:gd name="connsiteY0" fmla="*/ 0 h 1542839"/>
                <a:gd name="connsiteX1" fmla="*/ 1927472 w 1927472"/>
                <a:gd name="connsiteY1" fmla="*/ 11070 h 1542839"/>
                <a:gd name="connsiteX2" fmla="*/ 782106 w 1927472"/>
                <a:gd name="connsiteY2" fmla="*/ 1538169 h 1542839"/>
                <a:gd name="connsiteX3" fmla="*/ 0 w 1927472"/>
                <a:gd name="connsiteY3" fmla="*/ 1542839 h 1542839"/>
                <a:gd name="connsiteX4" fmla="*/ 1149549 w 1927472"/>
                <a:gd name="connsiteY4" fmla="*/ 0 h 1542839"/>
                <a:gd name="connsiteX0" fmla="*/ 1219027 w 1927472"/>
                <a:gd name="connsiteY0" fmla="*/ 197363 h 1531769"/>
                <a:gd name="connsiteX1" fmla="*/ 1927472 w 1927472"/>
                <a:gd name="connsiteY1" fmla="*/ 0 h 1531769"/>
                <a:gd name="connsiteX2" fmla="*/ 782106 w 1927472"/>
                <a:gd name="connsiteY2" fmla="*/ 1527099 h 1531769"/>
                <a:gd name="connsiteX3" fmla="*/ 0 w 1927472"/>
                <a:gd name="connsiteY3" fmla="*/ 1531769 h 1531769"/>
                <a:gd name="connsiteX4" fmla="*/ 1219027 w 1927472"/>
                <a:gd name="connsiteY4" fmla="*/ 197363 h 1531769"/>
                <a:gd name="connsiteX0" fmla="*/ 1149549 w 1927472"/>
                <a:gd name="connsiteY0" fmla="*/ 0 h 1534154"/>
                <a:gd name="connsiteX1" fmla="*/ 1927472 w 1927472"/>
                <a:gd name="connsiteY1" fmla="*/ 2385 h 1534154"/>
                <a:gd name="connsiteX2" fmla="*/ 782106 w 1927472"/>
                <a:gd name="connsiteY2" fmla="*/ 1529484 h 1534154"/>
                <a:gd name="connsiteX3" fmla="*/ 0 w 1927472"/>
                <a:gd name="connsiteY3" fmla="*/ 1534154 h 1534154"/>
                <a:gd name="connsiteX4" fmla="*/ 1149549 w 1927472"/>
                <a:gd name="connsiteY4" fmla="*/ 0 h 1534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7472" h="1534154">
                  <a:moveTo>
                    <a:pt x="1149549" y="0"/>
                  </a:moveTo>
                  <a:lnTo>
                    <a:pt x="1927472" y="2385"/>
                  </a:lnTo>
                  <a:lnTo>
                    <a:pt x="782106" y="1529484"/>
                  </a:lnTo>
                  <a:lnTo>
                    <a:pt x="0" y="1534154"/>
                  </a:lnTo>
                  <a:lnTo>
                    <a:pt x="1149549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0" name="Прямоугольник 2">
              <a:extLst>
                <a:ext uri="{FF2B5EF4-FFF2-40B4-BE49-F238E27FC236}">
                  <a16:creationId xmlns="" xmlns:a16="http://schemas.microsoft.com/office/drawing/2014/main" id="{27D5FA13-12DC-EB84-0254-9BF4426324C6}"/>
                </a:ext>
              </a:extLst>
            </p:cNvPr>
            <p:cNvSpPr/>
            <p:nvPr/>
          </p:nvSpPr>
          <p:spPr>
            <a:xfrm>
              <a:off x="2589450" y="5282168"/>
              <a:ext cx="618339" cy="7524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  <a:gd name="connsiteX0" fmla="*/ 2103285 w 2863840"/>
                <a:gd name="connsiteY0" fmla="*/ 6299 h 3654851"/>
                <a:gd name="connsiteX1" fmla="*/ 2863840 w 2863840"/>
                <a:gd name="connsiteY1" fmla="*/ 0 h 3654851"/>
                <a:gd name="connsiteX2" fmla="*/ 137856 w 2863840"/>
                <a:gd name="connsiteY2" fmla="*/ 3654851 h 3654851"/>
                <a:gd name="connsiteX3" fmla="*/ 0 w 2863840"/>
                <a:gd name="connsiteY3" fmla="*/ 3536356 h 3654851"/>
                <a:gd name="connsiteX4" fmla="*/ 2103285 w 2863840"/>
                <a:gd name="connsiteY4" fmla="*/ 6299 h 3654851"/>
                <a:gd name="connsiteX0" fmla="*/ 2216976 w 2977531"/>
                <a:gd name="connsiteY0" fmla="*/ 6299 h 3654851"/>
                <a:gd name="connsiteX1" fmla="*/ 2977531 w 2977531"/>
                <a:gd name="connsiteY1" fmla="*/ 0 h 3654851"/>
                <a:gd name="connsiteX2" fmla="*/ 251547 w 2977531"/>
                <a:gd name="connsiteY2" fmla="*/ 3654851 h 3654851"/>
                <a:gd name="connsiteX3" fmla="*/ 0 w 2977531"/>
                <a:gd name="connsiteY3" fmla="*/ 3631098 h 3654851"/>
                <a:gd name="connsiteX4" fmla="*/ 2216976 w 2977531"/>
                <a:gd name="connsiteY4" fmla="*/ 6299 h 3654851"/>
                <a:gd name="connsiteX0" fmla="*/ 2008542 w 2769097"/>
                <a:gd name="connsiteY0" fmla="*/ 6299 h 3654851"/>
                <a:gd name="connsiteX1" fmla="*/ 2769097 w 2769097"/>
                <a:gd name="connsiteY1" fmla="*/ 0 h 3654851"/>
                <a:gd name="connsiteX2" fmla="*/ 43113 w 2769097"/>
                <a:gd name="connsiteY2" fmla="*/ 3654851 h 3654851"/>
                <a:gd name="connsiteX3" fmla="*/ 0 w 2769097"/>
                <a:gd name="connsiteY3" fmla="*/ 3242654 h 3654851"/>
                <a:gd name="connsiteX4" fmla="*/ 2008542 w 2769097"/>
                <a:gd name="connsiteY4" fmla="*/ 6299 h 3654851"/>
                <a:gd name="connsiteX0" fmla="*/ 2245398 w 3005953"/>
                <a:gd name="connsiteY0" fmla="*/ 6299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245398 w 3005953"/>
                <a:gd name="connsiteY4" fmla="*/ 6299 h 3654851"/>
                <a:gd name="connsiteX0" fmla="*/ 2633843 w 3005953"/>
                <a:gd name="connsiteY0" fmla="*/ 15774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633843 w 3005953"/>
                <a:gd name="connsiteY4" fmla="*/ 15774 h 3654851"/>
                <a:gd name="connsiteX0" fmla="*/ 2794905 w 3005953"/>
                <a:gd name="connsiteY0" fmla="*/ 25248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794905 w 3005953"/>
                <a:gd name="connsiteY4" fmla="*/ 25248 h 3654851"/>
                <a:gd name="connsiteX0" fmla="*/ 2757008 w 3005953"/>
                <a:gd name="connsiteY0" fmla="*/ 0 h 3658026"/>
                <a:gd name="connsiteX1" fmla="*/ 3005953 w 3005953"/>
                <a:gd name="connsiteY1" fmla="*/ 3175 h 3658026"/>
                <a:gd name="connsiteX2" fmla="*/ 279969 w 3005953"/>
                <a:gd name="connsiteY2" fmla="*/ 3658026 h 3658026"/>
                <a:gd name="connsiteX3" fmla="*/ 0 w 3005953"/>
                <a:gd name="connsiteY3" fmla="*/ 3653222 h 3658026"/>
                <a:gd name="connsiteX4" fmla="*/ 2757008 w 3005953"/>
                <a:gd name="connsiteY4" fmla="*/ 0 h 3658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5953" h="3658026">
                  <a:moveTo>
                    <a:pt x="2757008" y="0"/>
                  </a:moveTo>
                  <a:lnTo>
                    <a:pt x="3005953" y="3175"/>
                  </a:lnTo>
                  <a:lnTo>
                    <a:pt x="279969" y="3658026"/>
                  </a:lnTo>
                  <a:lnTo>
                    <a:pt x="0" y="3653222"/>
                  </a:lnTo>
                  <a:lnTo>
                    <a:pt x="2757008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79378014-304C-944D-7C4E-326BCB2EFB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359" y="445892"/>
            <a:ext cx="2403475" cy="52301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4A125EED-94D1-52B9-440B-21F6ED33C568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2834401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2">
            <a:extLst>
              <a:ext uri="{FF2B5EF4-FFF2-40B4-BE49-F238E27FC236}">
                <a16:creationId xmlns="" xmlns:a16="http://schemas.microsoft.com/office/drawing/2014/main" id="{713ABC52-E1E0-66A1-13A3-A0EB166972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87208" y="411782"/>
            <a:ext cx="3164891" cy="1047598"/>
          </a:xfrm>
        </p:spPr>
        <p:txBody>
          <a:bodyPr>
            <a:normAutofit/>
          </a:bodyPr>
          <a:lstStyle>
            <a:lvl1pPr marL="0" indent="0">
              <a:buNone/>
              <a:defRPr sz="1100" b="0" i="0" spc="0" baseline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b="0" i="0">
                <a:latin typeface="FSRAILWAY Book" panose="020B0503040504020204" pitchFamily="34" charset="0"/>
              </a:defRPr>
            </a:lvl2pPr>
            <a:lvl3pPr>
              <a:defRPr b="0" i="0">
                <a:latin typeface="FSRAILWAY Book" panose="020B0503040504020204" pitchFamily="34" charset="0"/>
              </a:defRPr>
            </a:lvl3pPr>
            <a:lvl4pPr>
              <a:defRPr b="0" i="0">
                <a:latin typeface="FSRAILWAY Book" panose="020B0503040504020204" pitchFamily="34" charset="0"/>
              </a:defRPr>
            </a:lvl4pPr>
            <a:lvl5pPr>
              <a:defRPr b="0" i="0">
                <a:latin typeface="FSRAILWAY Book" panose="020B0503040504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7" name="Рисунок 9">
            <a:extLst>
              <a:ext uri="{FF2B5EF4-FFF2-40B4-BE49-F238E27FC236}">
                <a16:creationId xmlns="" xmlns:a16="http://schemas.microsoft.com/office/drawing/2014/main" id="{1A8DF907-A743-DBF9-2DA9-AA98C3C6CB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81741" y="441325"/>
            <a:ext cx="871093" cy="532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Текст 4">
            <a:extLst>
              <a:ext uri="{FF2B5EF4-FFF2-40B4-BE49-F238E27FC236}">
                <a16:creationId xmlns="" xmlns:a16="http://schemas.microsoft.com/office/drawing/2014/main" id="{A28D07B5-2A36-CE42-5EAC-C298DCA583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837" y="1363173"/>
            <a:ext cx="6331759" cy="28187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 b="0" i="0" spc="100" baseline="0">
                <a:ln cap="sq">
                  <a:solidFill>
                    <a:schemeClr val="tx1"/>
                  </a:solidFill>
                  <a:miter lim="800000"/>
                </a:ln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РОТКОЕ ДОПОЛНЕНИЕ К ЗАГОЛОВКУ</a:t>
            </a:r>
          </a:p>
        </p:txBody>
      </p:sp>
      <p:sp>
        <p:nvSpPr>
          <p:cNvPr id="11" name="Заголовок 7">
            <a:extLst>
              <a:ext uri="{FF2B5EF4-FFF2-40B4-BE49-F238E27FC236}">
                <a16:creationId xmlns="" xmlns:a16="http://schemas.microsoft.com/office/drawing/2014/main" id="{19A521E3-6372-6A90-D6E8-6AC3BD08DC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36" y="365126"/>
            <a:ext cx="6331760" cy="1047598"/>
          </a:xfrm>
        </p:spPr>
        <p:txBody>
          <a:bodyPr>
            <a:normAutofit/>
          </a:bodyPr>
          <a:lstStyle>
            <a:lvl1pPr>
              <a:defRPr lang="ru-RU" sz="260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/ </a:t>
            </a:r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ЗАГЛАВНЫЕ</a:t>
            </a:r>
            <a:br>
              <a:rPr lang="ru-RU" dirty="0"/>
            </a:br>
            <a:r>
              <a:rPr lang="ru-RU" dirty="0"/>
              <a:t>БУКВЫ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EB556881-D27D-D566-F1E1-3E108D011266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90696556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бор ик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7">
            <a:extLst>
              <a:ext uri="{FF2B5EF4-FFF2-40B4-BE49-F238E27FC236}">
                <a16:creationId xmlns="" xmlns:a16="http://schemas.microsoft.com/office/drawing/2014/main" id="{19A521E3-6372-6A90-D6E8-6AC3BD08DC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 rot="16200000">
            <a:off x="-2386731" y="3150321"/>
            <a:ext cx="6096002" cy="436709"/>
          </a:xfrm>
        </p:spPr>
        <p:txBody>
          <a:bodyPr>
            <a:normAutofit/>
          </a:bodyPr>
          <a:lstStyle>
            <a:lvl1pPr algn="r">
              <a:defRPr lang="ru-RU" sz="260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НАБОР ИКОНОК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E01175B6-7411-D913-F169-A5253C1B6172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57595328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01C97775-FD2F-6265-4F61-2B45A067FAE8}"/>
              </a:ext>
            </a:extLst>
          </p:cNvPr>
          <p:cNvSpPr txBox="1"/>
          <p:nvPr userDrawn="1"/>
        </p:nvSpPr>
        <p:spPr>
          <a:xfrm>
            <a:off x="768836" y="312103"/>
            <a:ext cx="9683263" cy="7309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 ИЗОБРАЖЕНИЯ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711A526D-A299-4107-CD06-BE649F5E11BE}"/>
              </a:ext>
            </a:extLst>
          </p:cNvPr>
          <p:cNvCxnSpPr>
            <a:cxnSpLocks/>
          </p:cNvCxnSpPr>
          <p:nvPr userDrawn="1"/>
        </p:nvCxnSpPr>
        <p:spPr>
          <a:xfrm flipH="1">
            <a:off x="874713" y="3387442"/>
            <a:ext cx="6596130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15829485-7057-A296-5489-4FC388C23ADA}"/>
              </a:ext>
            </a:extLst>
          </p:cNvPr>
          <p:cNvSpPr txBox="1"/>
          <p:nvPr userDrawn="1"/>
        </p:nvSpPr>
        <p:spPr>
          <a:xfrm>
            <a:off x="778459" y="3893994"/>
            <a:ext cx="6596130" cy="92333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1975" algn="l"/>
              </a:tabLst>
              <a:defRPr/>
            </a:pPr>
            <a:r>
              <a:rPr lang="ru-RU" sz="1400" b="1" kern="1200" spc="200" dirty="0">
                <a:ln w="12700" cap="sq">
                  <a:noFill/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ЗОБРАЖЕНИЯ НЕ ИЗ ФОТОБАНКА</a:t>
            </a:r>
            <a:endParaRPr lang="ru-RU" sz="1400" b="1" kern="1200" dirty="0">
              <a:ln w="12700" cap="sq">
                <a:noFill/>
                <a:miter lim="800000"/>
              </a:ln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 работе со сторонними изображениями необходимо убедиться в их соответствии требованиям Руководства бренда работодателя РЖД</a:t>
            </a:r>
            <a:r>
              <a:rPr lang="ru-RU" sz="1000" b="0" kern="120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0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ru-RU" sz="10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2"/>
              </a:rPr>
              <a:t>интернет</a:t>
            </a:r>
            <a:r>
              <a:rPr lang="ru-RU" sz="10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/ </a:t>
            </a:r>
            <a:r>
              <a:rPr lang="ru-RU" sz="10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3"/>
              </a:rPr>
              <a:t>интранет</a:t>
            </a:r>
            <a:r>
              <a:rPr lang="ru-RU" sz="10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:</a:t>
            </a:r>
            <a:endParaRPr lang="ru-RU" sz="1000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0" kern="1200" dirty="0">
                <a:ln>
                  <a:noFill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«</a:t>
            </a:r>
            <a:r>
              <a:rPr lang="ru-RU" sz="1000" b="1" kern="1200" dirty="0">
                <a:ln w="6350"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изуальная концепция</a:t>
            </a:r>
            <a:r>
              <a:rPr lang="ru-RU" sz="1000" b="0" kern="1200" dirty="0">
                <a:ln>
                  <a:noFill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  <a:r>
              <a:rPr lang="ru-RU" sz="1000" b="0" kern="1200" dirty="0">
                <a:ln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000" b="0" i="0" dirty="0">
                <a:ln>
                  <a:noFill/>
                </a:ln>
                <a:solidFill>
                  <a:srgbClr val="333333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→</a:t>
            </a:r>
            <a:r>
              <a:rPr lang="ru-RU" sz="1000" b="0" kern="1200" dirty="0">
                <a:ln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«</a:t>
            </a:r>
            <a:r>
              <a:rPr lang="ru-RU" sz="1000" b="1" kern="1200" dirty="0">
                <a:ln w="6350"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лементы фирменного стиля</a:t>
            </a:r>
            <a:r>
              <a:rPr lang="ru-RU" sz="1000" b="0" kern="1200" dirty="0">
                <a:ln>
                  <a:noFill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  <a:r>
              <a:rPr lang="ru-RU" sz="1000" b="0" kern="1200" dirty="0">
                <a:ln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000" b="0" i="0" dirty="0">
                <a:ln>
                  <a:noFill/>
                </a:ln>
                <a:solidFill>
                  <a:srgbClr val="333333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→</a:t>
            </a:r>
            <a:r>
              <a:rPr lang="ru-RU" sz="1000" b="0" kern="1200" dirty="0">
                <a:ln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«</a:t>
            </a:r>
            <a:r>
              <a:rPr lang="ru-RU" sz="1000" b="1" kern="1200" dirty="0">
                <a:ln w="6350"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1.6 </a:t>
            </a:r>
            <a:r>
              <a:rPr lang="ru-RU" sz="1000" b="1" kern="1200" dirty="0" err="1">
                <a:ln w="6350"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отостиль</a:t>
            </a:r>
            <a:r>
              <a:rPr lang="ru-RU" sz="1000" b="0" kern="1200" dirty="0">
                <a:ln>
                  <a:noFill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.</a:t>
            </a:r>
            <a:endParaRPr lang="en" sz="1000" b="0" kern="1200" dirty="0">
              <a:ln>
                <a:noFill/>
              </a:ln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6CBD5F1C-060A-6A25-AD60-A3AF59FC16F5}"/>
              </a:ext>
            </a:extLst>
          </p:cNvPr>
          <p:cNvSpPr txBox="1"/>
          <p:nvPr userDrawn="1"/>
        </p:nvSpPr>
        <p:spPr>
          <a:xfrm>
            <a:off x="778459" y="1465118"/>
            <a:ext cx="6692383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spc="200" dirty="0">
                <a:ln w="15875" cap="sq">
                  <a:noFill/>
                  <a:miter lim="800000"/>
                </a:ln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ОТОБАНК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пользуйте </a:t>
            </a:r>
            <a:r>
              <a:rPr lang="ru-RU" sz="1400" kern="1200" dirty="0" err="1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отостиль</a:t>
            </a:r>
            <a:r>
              <a:rPr lang="ru-RU" sz="14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избегайте рисунков и иллюстраций. Изображения доступны в фотобанке (</a:t>
            </a:r>
            <a:r>
              <a:rPr lang="ru-RU" sz="14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4"/>
              </a:rPr>
              <a:t>интернет</a:t>
            </a:r>
            <a:r>
              <a:rPr lang="ru-RU" sz="14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/ </a:t>
            </a:r>
            <a:r>
              <a:rPr lang="ru-RU" sz="1400" b="0" kern="120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5"/>
              </a:rPr>
              <a:t>интранет</a:t>
            </a:r>
            <a:r>
              <a:rPr lang="ru-RU" sz="14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r>
              <a:rPr lang="en-US" sz="14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4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ренда работодателя РЖД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11238" algn="l"/>
              </a:tabLst>
              <a:defRPr/>
            </a:pPr>
            <a:r>
              <a:rPr lang="ru-RU" sz="14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«</a:t>
            </a:r>
            <a:r>
              <a:rPr lang="ru-RU" sz="1400" b="1" kern="1200" dirty="0">
                <a:ln cap="sq">
                  <a:noFill/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ходные файлы</a:t>
            </a:r>
            <a:r>
              <a:rPr lang="ru-RU" sz="14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 → «</a:t>
            </a:r>
            <a:r>
              <a:rPr lang="ru-RU" sz="1400" b="1" kern="1200" dirty="0">
                <a:ln cap="sq">
                  <a:noFill/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3 Фотобанк</a:t>
            </a:r>
            <a:r>
              <a:rPr lang="ru-RU" sz="14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  <a:endParaRPr lang="en" sz="1400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FAC22250-DECC-5B2A-F533-554FCF0933B5}"/>
              </a:ext>
            </a:extLst>
          </p:cNvPr>
          <p:cNvSpPr txBox="1"/>
          <p:nvPr userDrawn="1"/>
        </p:nvSpPr>
        <p:spPr>
          <a:xfrm>
            <a:off x="778458" y="5323876"/>
            <a:ext cx="715530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1200" spc="200" dirty="0">
                <a:ln w="12700" cap="sq">
                  <a:noFill/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ЕС ИЗОБРАЖЕНИЙ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зображения могут замедлять работу </a:t>
            </a:r>
            <a:r>
              <a:rPr lang="en-US" sz="10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werPoint</a:t>
            </a:r>
            <a:r>
              <a:rPr lang="ru-RU" sz="10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в силу большого веса или ограниченных характеристик ПК. Выделите изображение и оптимизируйте его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0" kern="1200" dirty="0">
                <a:ln>
                  <a:noFill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«</a:t>
            </a:r>
            <a:r>
              <a:rPr lang="ru-RU" sz="1000" b="1" kern="1200" dirty="0">
                <a:ln w="6350"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ормат рисунка</a:t>
            </a:r>
            <a:r>
              <a:rPr lang="ru-RU" sz="1000" b="0" kern="1200" dirty="0">
                <a:ln>
                  <a:noFill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  <a:r>
              <a:rPr lang="ru-RU" sz="1000" b="0" kern="1200" dirty="0">
                <a:ln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000" b="0" i="0" dirty="0">
                <a:ln>
                  <a:noFill/>
                </a:ln>
                <a:solidFill>
                  <a:srgbClr val="333333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→</a:t>
            </a:r>
            <a:r>
              <a:rPr lang="ru-RU" sz="1000" b="0" kern="1200" dirty="0">
                <a:ln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«    </a:t>
            </a:r>
            <a:r>
              <a:rPr lang="ru-RU" sz="1000" b="1" kern="1200" dirty="0">
                <a:ln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000" b="1" kern="1200" dirty="0">
                <a:ln w="6350"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жать рисунки</a:t>
            </a:r>
            <a:r>
              <a:rPr lang="ru-RU" sz="1000" b="0" kern="1200" dirty="0">
                <a:ln>
                  <a:noFill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  <a:r>
              <a:rPr lang="ru-RU" sz="1000" b="0" kern="1200" dirty="0">
                <a:ln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000" b="0" i="0" dirty="0">
                <a:ln>
                  <a:noFill/>
                </a:ln>
                <a:solidFill>
                  <a:srgbClr val="333333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→</a:t>
            </a:r>
            <a:r>
              <a:rPr lang="ru-RU" sz="1000" b="0" kern="1200" dirty="0">
                <a:ln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«</a:t>
            </a:r>
            <a:r>
              <a:rPr lang="ru-RU" sz="1000" b="1" kern="1200" dirty="0">
                <a:ln w="6350"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менить к… выделенным рисункам</a:t>
            </a:r>
            <a:r>
              <a:rPr lang="ru-RU" sz="1000" b="0" kern="1200" dirty="0">
                <a:ln>
                  <a:noFill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  <a:r>
              <a:rPr lang="ru-RU" sz="1000" b="0" kern="1200" dirty="0">
                <a:ln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000" b="0" i="0" dirty="0">
                <a:ln>
                  <a:noFill/>
                </a:ln>
                <a:solidFill>
                  <a:srgbClr val="333333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→</a:t>
            </a:r>
            <a:r>
              <a:rPr lang="ru-RU" sz="1000" b="0" kern="1200" dirty="0">
                <a:ln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«</a:t>
            </a:r>
            <a:r>
              <a:rPr lang="ru-RU" sz="1000" b="1" kern="1200" dirty="0">
                <a:ln w="6350">
                  <a:noFill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К</a:t>
            </a:r>
            <a:r>
              <a:rPr lang="ru-RU" sz="1000" b="0" kern="1200" dirty="0">
                <a:ln>
                  <a:noFill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.</a:t>
            </a:r>
            <a:endParaRPr lang="en" sz="1000" b="0" kern="1200" dirty="0">
              <a:ln>
                <a:noFill/>
              </a:ln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6CA6C224-8972-69A8-D464-9451F5A306B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1793" y="6028435"/>
            <a:ext cx="210796" cy="18371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9D007BEE-5018-D950-95B6-9748F02ECD7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5439" y="1297004"/>
            <a:ext cx="2741315" cy="48734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528204599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93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ве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Группа 31">
            <a:extLst>
              <a:ext uri="{FF2B5EF4-FFF2-40B4-BE49-F238E27FC236}">
                <a16:creationId xmlns="" xmlns:a16="http://schemas.microsoft.com/office/drawing/2014/main" id="{9AAE3101-9A5E-E5F6-29D9-82E22A82E807}"/>
              </a:ext>
            </a:extLst>
          </p:cNvPr>
          <p:cNvGrpSpPr/>
          <p:nvPr userDrawn="1"/>
        </p:nvGrpSpPr>
        <p:grpSpPr>
          <a:xfrm>
            <a:off x="874713" y="4646255"/>
            <a:ext cx="3459777" cy="431800"/>
            <a:chOff x="874713" y="4542971"/>
            <a:chExt cx="3459777" cy="431800"/>
          </a:xfrm>
        </p:grpSpPr>
        <p:sp>
          <p:nvSpPr>
            <p:cNvPr id="33" name="Прямоугольник 32">
              <a:extLst>
                <a:ext uri="{FF2B5EF4-FFF2-40B4-BE49-F238E27FC236}">
                  <a16:creationId xmlns="" xmlns:a16="http://schemas.microsoft.com/office/drawing/2014/main" id="{744D6079-4EC1-DE5B-81C1-481A2214DE2E}"/>
                </a:ext>
              </a:extLst>
            </p:cNvPr>
            <p:cNvSpPr/>
            <p:nvPr/>
          </p:nvSpPr>
          <p:spPr>
            <a:xfrm>
              <a:off x="874713" y="4542971"/>
              <a:ext cx="1728787" cy="431800"/>
            </a:xfrm>
            <a:prstGeom prst="rect">
              <a:avLst/>
            </a:prstGeom>
            <a:solidFill>
              <a:srgbClr val="0AB7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spc="15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1</a:t>
              </a:r>
              <a:endParaRPr lang="ru-RU" sz="1200" spc="1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="" xmlns:a16="http://schemas.microsoft.com/office/drawing/2014/main" id="{A4D9855B-78C7-C5F2-5179-04DFE76805BD}"/>
                </a:ext>
              </a:extLst>
            </p:cNvPr>
            <p:cNvSpPr/>
            <p:nvPr/>
          </p:nvSpPr>
          <p:spPr>
            <a:xfrm>
              <a:off x="3036032" y="4542971"/>
              <a:ext cx="431068" cy="431800"/>
            </a:xfrm>
            <a:prstGeom prst="rect">
              <a:avLst/>
            </a:prstGeom>
            <a:solidFill>
              <a:srgbClr val="8EE0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spc="15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2</a:t>
              </a:r>
              <a:endParaRPr lang="ru-RU" sz="1200" spc="1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="" xmlns:a16="http://schemas.microsoft.com/office/drawing/2014/main" id="{0042D315-90C6-D80C-CFE6-DCE9C49D3713}"/>
                </a:ext>
              </a:extLst>
            </p:cNvPr>
            <p:cNvSpPr/>
            <p:nvPr/>
          </p:nvSpPr>
          <p:spPr>
            <a:xfrm>
              <a:off x="3903422" y="4542971"/>
              <a:ext cx="431068" cy="431800"/>
            </a:xfrm>
            <a:prstGeom prst="rect">
              <a:avLst/>
            </a:prstGeom>
            <a:solidFill>
              <a:srgbClr val="ECF0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spc="15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3</a:t>
              </a:r>
              <a:endParaRPr lang="ru-RU" sz="1200" spc="15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36" name="Объект 2">
            <a:extLst>
              <a:ext uri="{FF2B5EF4-FFF2-40B4-BE49-F238E27FC236}">
                <a16:creationId xmlns="" xmlns:a16="http://schemas.microsoft.com/office/drawing/2014/main" id="{A4D17CB1-9ACD-4997-2711-C123D4298470}"/>
              </a:ext>
            </a:extLst>
          </p:cNvPr>
          <p:cNvSpPr txBox="1">
            <a:spLocks/>
          </p:cNvSpPr>
          <p:nvPr userDrawn="1"/>
        </p:nvSpPr>
        <p:spPr>
          <a:xfrm>
            <a:off x="768837" y="4149778"/>
            <a:ext cx="4031764" cy="3931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 spc="200" baseline="0">
                <a:solidFill>
                  <a:schemeClr val="tx1"/>
                </a:solidFill>
                <a:latin typeface="RussianRail G Pro Medium" panose="02000503040000020004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FSRAILWAY Book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FSRAILWAY Book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FSRAILWAY Book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FSRAILWAY Book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ФИСНЫЕ РАБОТНИКИ</a:t>
            </a:r>
          </a:p>
        </p:txBody>
      </p:sp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9C3ECFC4-01A4-DAA1-A1ED-20438E3A29DE}"/>
              </a:ext>
            </a:extLst>
          </p:cNvPr>
          <p:cNvGrpSpPr/>
          <p:nvPr userDrawn="1"/>
        </p:nvGrpSpPr>
        <p:grpSpPr>
          <a:xfrm>
            <a:off x="874713" y="1875508"/>
            <a:ext cx="3459777" cy="431800"/>
            <a:chOff x="874713" y="4542971"/>
            <a:chExt cx="3459777" cy="431800"/>
          </a:xfrm>
        </p:grpSpPr>
        <p:sp>
          <p:nvSpPr>
            <p:cNvPr id="39" name="Прямоугольник 38">
              <a:extLst>
                <a:ext uri="{FF2B5EF4-FFF2-40B4-BE49-F238E27FC236}">
                  <a16:creationId xmlns="" xmlns:a16="http://schemas.microsoft.com/office/drawing/2014/main" id="{F358D995-6E9B-CAEA-6CB8-6D6DD7EBE620}"/>
                </a:ext>
              </a:extLst>
            </p:cNvPr>
            <p:cNvSpPr/>
            <p:nvPr/>
          </p:nvSpPr>
          <p:spPr>
            <a:xfrm>
              <a:off x="874713" y="4542971"/>
              <a:ext cx="1728787" cy="431800"/>
            </a:xfrm>
            <a:prstGeom prst="rect">
              <a:avLst/>
            </a:prstGeom>
            <a:solidFill>
              <a:srgbClr val="FF871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spc="15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1</a:t>
              </a:r>
              <a:endParaRPr lang="ru-RU" sz="1200" spc="1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0" name="Прямоугольник 39">
              <a:extLst>
                <a:ext uri="{FF2B5EF4-FFF2-40B4-BE49-F238E27FC236}">
                  <a16:creationId xmlns="" xmlns:a16="http://schemas.microsoft.com/office/drawing/2014/main" id="{564014E5-5795-1EF4-4A79-926B6CCF1DDA}"/>
                </a:ext>
              </a:extLst>
            </p:cNvPr>
            <p:cNvSpPr/>
            <p:nvPr/>
          </p:nvSpPr>
          <p:spPr>
            <a:xfrm>
              <a:off x="3036032" y="4542971"/>
              <a:ext cx="431068" cy="431800"/>
            </a:xfrm>
            <a:prstGeom prst="rect">
              <a:avLst/>
            </a:prstGeom>
            <a:solidFill>
              <a:srgbClr val="E59B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spc="15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2</a:t>
              </a:r>
              <a:endParaRPr lang="ru-RU" sz="1200" spc="1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1" name="Прямоугольник 40">
              <a:extLst>
                <a:ext uri="{FF2B5EF4-FFF2-40B4-BE49-F238E27FC236}">
                  <a16:creationId xmlns="" xmlns:a16="http://schemas.microsoft.com/office/drawing/2014/main" id="{47335925-E826-E7F5-5292-5BC87F5DB16B}"/>
                </a:ext>
              </a:extLst>
            </p:cNvPr>
            <p:cNvSpPr/>
            <p:nvPr/>
          </p:nvSpPr>
          <p:spPr>
            <a:xfrm>
              <a:off x="3903422" y="4542971"/>
              <a:ext cx="431068" cy="431800"/>
            </a:xfrm>
            <a:prstGeom prst="rect">
              <a:avLst/>
            </a:prstGeom>
            <a:solidFill>
              <a:srgbClr val="FFD9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spc="15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3</a:t>
              </a:r>
              <a:endParaRPr lang="ru-RU" sz="1200" spc="15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42" name="Объект 2">
            <a:extLst>
              <a:ext uri="{FF2B5EF4-FFF2-40B4-BE49-F238E27FC236}">
                <a16:creationId xmlns="" xmlns:a16="http://schemas.microsoft.com/office/drawing/2014/main" id="{2A239AAF-780C-2540-1433-47A4B3798950}"/>
              </a:ext>
            </a:extLst>
          </p:cNvPr>
          <p:cNvSpPr txBox="1">
            <a:spLocks/>
          </p:cNvSpPr>
          <p:nvPr userDrawn="1"/>
        </p:nvSpPr>
        <p:spPr>
          <a:xfrm>
            <a:off x="768837" y="1379031"/>
            <a:ext cx="4031764" cy="3931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 spc="200" baseline="0">
                <a:solidFill>
                  <a:schemeClr val="tx1"/>
                </a:solidFill>
                <a:latin typeface="RussianRail G Pro Medium" panose="02000503040000020004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FSRAILWAY Book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FSRAILWAY Book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FSRAILWAY Book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FSRAILWAY Book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БОЧИЕ</a:t>
            </a:r>
          </a:p>
        </p:txBody>
      </p:sp>
      <p:grpSp>
        <p:nvGrpSpPr>
          <p:cNvPr id="44" name="Группа 43">
            <a:extLst>
              <a:ext uri="{FF2B5EF4-FFF2-40B4-BE49-F238E27FC236}">
                <a16:creationId xmlns="" xmlns:a16="http://schemas.microsoft.com/office/drawing/2014/main" id="{79CB7E4D-4A3F-A5FE-8FE3-B96EB91FFE5B}"/>
              </a:ext>
            </a:extLst>
          </p:cNvPr>
          <p:cNvGrpSpPr/>
          <p:nvPr userDrawn="1"/>
        </p:nvGrpSpPr>
        <p:grpSpPr>
          <a:xfrm>
            <a:off x="5339009" y="4646255"/>
            <a:ext cx="3459777" cy="431800"/>
            <a:chOff x="874713" y="4542971"/>
            <a:chExt cx="3459777" cy="431800"/>
          </a:xfrm>
        </p:grpSpPr>
        <p:sp>
          <p:nvSpPr>
            <p:cNvPr id="45" name="Прямоугольник 44">
              <a:extLst>
                <a:ext uri="{FF2B5EF4-FFF2-40B4-BE49-F238E27FC236}">
                  <a16:creationId xmlns="" xmlns:a16="http://schemas.microsoft.com/office/drawing/2014/main" id="{D35F92FA-4EBF-D2E8-C09F-081293E90934}"/>
                </a:ext>
              </a:extLst>
            </p:cNvPr>
            <p:cNvSpPr/>
            <p:nvPr/>
          </p:nvSpPr>
          <p:spPr>
            <a:xfrm>
              <a:off x="874713" y="4542971"/>
              <a:ext cx="1728787" cy="431800"/>
            </a:xfrm>
            <a:prstGeom prst="rect">
              <a:avLst/>
            </a:prstGeom>
            <a:solidFill>
              <a:srgbClr val="4B66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spc="15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1</a:t>
              </a:r>
              <a:endParaRPr lang="ru-RU" sz="1200" spc="1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6" name="Прямоугольник 45">
              <a:extLst>
                <a:ext uri="{FF2B5EF4-FFF2-40B4-BE49-F238E27FC236}">
                  <a16:creationId xmlns="" xmlns:a16="http://schemas.microsoft.com/office/drawing/2014/main" id="{3DB939B9-C55E-23DF-D45C-8CFC14AF183D}"/>
                </a:ext>
              </a:extLst>
            </p:cNvPr>
            <p:cNvSpPr/>
            <p:nvPr/>
          </p:nvSpPr>
          <p:spPr>
            <a:xfrm>
              <a:off x="3036032" y="4542971"/>
              <a:ext cx="431068" cy="431800"/>
            </a:xfrm>
            <a:prstGeom prst="rect">
              <a:avLst/>
            </a:prstGeom>
            <a:solidFill>
              <a:srgbClr val="8A91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spc="15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2</a:t>
              </a:r>
              <a:endParaRPr lang="ru-RU" sz="1200" spc="1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="" xmlns:a16="http://schemas.microsoft.com/office/drawing/2014/main" id="{F18F18C6-8A74-CE88-8D5B-561CD6E7041C}"/>
                </a:ext>
              </a:extLst>
            </p:cNvPr>
            <p:cNvSpPr/>
            <p:nvPr/>
          </p:nvSpPr>
          <p:spPr>
            <a:xfrm>
              <a:off x="3903422" y="4542971"/>
              <a:ext cx="431068" cy="431800"/>
            </a:xfrm>
            <a:prstGeom prst="rect">
              <a:avLst/>
            </a:prstGeom>
            <a:solidFill>
              <a:srgbClr val="C7CA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spc="15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3</a:t>
              </a:r>
              <a:endParaRPr lang="ru-RU" sz="1200" spc="15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48" name="Объект 2">
            <a:extLst>
              <a:ext uri="{FF2B5EF4-FFF2-40B4-BE49-F238E27FC236}">
                <a16:creationId xmlns="" xmlns:a16="http://schemas.microsoft.com/office/drawing/2014/main" id="{6FE28D85-55BE-F4D6-3001-F9F5E02C33DC}"/>
              </a:ext>
            </a:extLst>
          </p:cNvPr>
          <p:cNvSpPr txBox="1">
            <a:spLocks/>
          </p:cNvSpPr>
          <p:nvPr userDrawn="1"/>
        </p:nvSpPr>
        <p:spPr>
          <a:xfrm>
            <a:off x="5233133" y="4149778"/>
            <a:ext cx="4031764" cy="3931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 spc="200" baseline="0">
                <a:solidFill>
                  <a:schemeClr val="tx1"/>
                </a:solidFill>
                <a:latin typeface="RussianRail G Pro Medium" panose="02000503040000020004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FSRAILWAY Book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FSRAILWAY Book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FSRAILWAY Book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FSRAILWAY Book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УДЕНТЫ И МОЛОДЕЖЬ</a:t>
            </a:r>
          </a:p>
        </p:txBody>
      </p:sp>
      <p:grpSp>
        <p:nvGrpSpPr>
          <p:cNvPr id="50" name="Группа 49">
            <a:extLst>
              <a:ext uri="{FF2B5EF4-FFF2-40B4-BE49-F238E27FC236}">
                <a16:creationId xmlns="" xmlns:a16="http://schemas.microsoft.com/office/drawing/2014/main" id="{2457BB18-E195-6E19-90DD-3904DB737853}"/>
              </a:ext>
            </a:extLst>
          </p:cNvPr>
          <p:cNvGrpSpPr/>
          <p:nvPr userDrawn="1"/>
        </p:nvGrpSpPr>
        <p:grpSpPr>
          <a:xfrm>
            <a:off x="5339009" y="1875508"/>
            <a:ext cx="3459777" cy="431800"/>
            <a:chOff x="874713" y="4542971"/>
            <a:chExt cx="3459777" cy="431800"/>
          </a:xfrm>
        </p:grpSpPr>
        <p:sp>
          <p:nvSpPr>
            <p:cNvPr id="51" name="Прямоугольник 50">
              <a:extLst>
                <a:ext uri="{FF2B5EF4-FFF2-40B4-BE49-F238E27FC236}">
                  <a16:creationId xmlns="" xmlns:a16="http://schemas.microsoft.com/office/drawing/2014/main" id="{A44F2D54-BF56-79BF-6C42-8223A93E6F2C}"/>
                </a:ext>
              </a:extLst>
            </p:cNvPr>
            <p:cNvSpPr/>
            <p:nvPr/>
          </p:nvSpPr>
          <p:spPr>
            <a:xfrm>
              <a:off x="874713" y="4542971"/>
              <a:ext cx="1728787" cy="4318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spc="15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1</a:t>
              </a:r>
              <a:endParaRPr lang="ru-RU" sz="1200" spc="1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2" name="Прямоугольник 51">
              <a:extLst>
                <a:ext uri="{FF2B5EF4-FFF2-40B4-BE49-F238E27FC236}">
                  <a16:creationId xmlns="" xmlns:a16="http://schemas.microsoft.com/office/drawing/2014/main" id="{A9254CAC-6A06-4D7F-C725-D5765D2BE508}"/>
                </a:ext>
              </a:extLst>
            </p:cNvPr>
            <p:cNvSpPr/>
            <p:nvPr/>
          </p:nvSpPr>
          <p:spPr>
            <a:xfrm>
              <a:off x="3036032" y="4542971"/>
              <a:ext cx="431068" cy="431800"/>
            </a:xfrm>
            <a:prstGeom prst="rect">
              <a:avLst/>
            </a:prstGeom>
            <a:solidFill>
              <a:srgbClr val="6421C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spc="15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2</a:t>
              </a:r>
              <a:endParaRPr lang="ru-RU" sz="1200" spc="1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="" xmlns:a16="http://schemas.microsoft.com/office/drawing/2014/main" id="{AFAAD768-16CF-7D68-9FB6-4E4A10D3F4DD}"/>
                </a:ext>
              </a:extLst>
            </p:cNvPr>
            <p:cNvSpPr/>
            <p:nvPr/>
          </p:nvSpPr>
          <p:spPr>
            <a:xfrm>
              <a:off x="3903422" y="4542971"/>
              <a:ext cx="431068" cy="431800"/>
            </a:xfrm>
            <a:prstGeom prst="rect">
              <a:avLst/>
            </a:prstGeom>
            <a:solidFill>
              <a:srgbClr val="FFD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spc="150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3</a:t>
              </a:r>
              <a:endParaRPr lang="ru-RU" sz="1200" spc="15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54" name="Объект 2">
            <a:extLst>
              <a:ext uri="{FF2B5EF4-FFF2-40B4-BE49-F238E27FC236}">
                <a16:creationId xmlns="" xmlns:a16="http://schemas.microsoft.com/office/drawing/2014/main" id="{6B8B0E58-3A01-4429-B477-C2B68DE7A535}"/>
              </a:ext>
            </a:extLst>
          </p:cNvPr>
          <p:cNvSpPr txBox="1">
            <a:spLocks/>
          </p:cNvSpPr>
          <p:nvPr userDrawn="1"/>
        </p:nvSpPr>
        <p:spPr>
          <a:xfrm>
            <a:off x="5233133" y="1379031"/>
            <a:ext cx="4031764" cy="3931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 spc="200" baseline="0">
                <a:solidFill>
                  <a:schemeClr val="tx1"/>
                </a:solidFill>
                <a:latin typeface="RussianRail G Pro Medium" panose="02000503040000020004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FSRAILWAY Book" panose="020B05030405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FSRAILWAY Book" panose="020B05030405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FSRAILWAY Book" panose="020B05030405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FSRAILWAY Book" panose="020B05030405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Т-СПЕЦИАЛИСТЫ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793A841A-DB23-A362-B496-85DDD1C1D359}"/>
              </a:ext>
            </a:extLst>
          </p:cNvPr>
          <p:cNvSpPr txBox="1"/>
          <p:nvPr userDrawn="1"/>
        </p:nvSpPr>
        <p:spPr>
          <a:xfrm>
            <a:off x="768837" y="312103"/>
            <a:ext cx="6673622" cy="7309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 ЦВЕТОВАЯ ПАЛИТРА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B90A705C-E75E-0065-34EC-490AA0B7B4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7492" y="2521197"/>
            <a:ext cx="1814971" cy="10807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45229C46-814E-97F0-A489-CE75F6959412}"/>
              </a:ext>
            </a:extLst>
          </p:cNvPr>
          <p:cNvSpPr txBox="1"/>
          <p:nvPr userDrawn="1"/>
        </p:nvSpPr>
        <p:spPr>
          <a:xfrm>
            <a:off x="9601201" y="1379031"/>
            <a:ext cx="225334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1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фициальные цвета бренда работодателя отмечены цифрой 01. Они доступны</a:t>
            </a:r>
            <a:br>
              <a:rPr lang="ru-RU" sz="11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1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палитре цвета во вкладке «</a:t>
            </a:r>
            <a:r>
              <a:rPr lang="ru-RU" sz="11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лавная</a:t>
            </a:r>
            <a:r>
              <a:rPr lang="ru-RU" sz="11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D4BF8C3-193F-8F1E-26A3-DF9E60812102}"/>
              </a:ext>
            </a:extLst>
          </p:cNvPr>
          <p:cNvSpPr txBox="1"/>
          <p:nvPr userDrawn="1"/>
        </p:nvSpPr>
        <p:spPr>
          <a:xfrm>
            <a:off x="9601201" y="3661826"/>
            <a:ext cx="233412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Цвета 02 и 03 являются вспомогательным</a:t>
            </a:r>
            <a:r>
              <a:rPr lang="en-US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ля инфографики, графиков</a:t>
            </a:r>
            <a:b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диаграмм и используются исключительно в презентациях.</a:t>
            </a:r>
          </a:p>
        </p:txBody>
      </p:sp>
      <p:graphicFrame>
        <p:nvGraphicFramePr>
          <p:cNvPr id="8" name="Таблица 157">
            <a:extLst>
              <a:ext uri="{FF2B5EF4-FFF2-40B4-BE49-F238E27FC236}">
                <a16:creationId xmlns="" xmlns:a16="http://schemas.microsoft.com/office/drawing/2014/main" id="{EEF23A5B-0DEC-30EE-BB4A-D202ED0A619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="" xmlns:p14="http://schemas.microsoft.com/office/powerpoint/2010/main" val="3039188400"/>
              </p:ext>
            </p:extLst>
          </p:nvPr>
        </p:nvGraphicFramePr>
        <p:xfrm>
          <a:off x="877191" y="5181339"/>
          <a:ext cx="3923410" cy="1302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0401">
                  <a:extLst>
                    <a:ext uri="{9D8B030D-6E8A-4147-A177-3AD203B41FA5}">
                      <a16:colId xmlns="" xmlns:a16="http://schemas.microsoft.com/office/drawing/2014/main" val="3465636121"/>
                    </a:ext>
                  </a:extLst>
                </a:gridCol>
                <a:gridCol w="1719072">
                  <a:extLst>
                    <a:ext uri="{9D8B030D-6E8A-4147-A177-3AD203B41FA5}">
                      <a16:colId xmlns="" xmlns:a16="http://schemas.microsoft.com/office/drawing/2014/main" val="1414734826"/>
                    </a:ext>
                  </a:extLst>
                </a:gridCol>
                <a:gridCol w="877824">
                  <a:extLst>
                    <a:ext uri="{9D8B030D-6E8A-4147-A177-3AD203B41FA5}">
                      <a16:colId xmlns="" xmlns:a16="http://schemas.microsoft.com/office/drawing/2014/main" val="2819683864"/>
                    </a:ext>
                  </a:extLst>
                </a:gridCol>
                <a:gridCol w="896113">
                  <a:extLst>
                    <a:ext uri="{9D8B030D-6E8A-4147-A177-3AD203B41FA5}">
                      <a16:colId xmlns="" xmlns:a16="http://schemas.microsoft.com/office/drawing/2014/main" val="1640652834"/>
                    </a:ext>
                  </a:extLst>
                </a:gridCol>
              </a:tblGrid>
              <a:tr h="229128">
                <a:tc>
                  <a:txBody>
                    <a:bodyPr/>
                    <a:lstStyle/>
                    <a:p>
                      <a:r>
                        <a:rPr lang="en-US" sz="11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#</a:t>
                      </a:r>
                      <a:endParaRPr lang="ru-RU" sz="11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AB773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EE047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CF0D3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157803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ru-RU" sz="2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83392358"/>
                  </a:ext>
                </a:extLst>
              </a:tr>
              <a:tr h="229128">
                <a:tc>
                  <a:txBody>
                    <a:bodyPr/>
                    <a:lstStyle/>
                    <a:p>
                      <a:r>
                        <a:rPr lang="en-US" sz="11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</a:t>
                      </a:r>
                      <a:endParaRPr lang="ru-RU" sz="11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2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36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657360863"/>
                  </a:ext>
                </a:extLst>
              </a:tr>
              <a:tr h="229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3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24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40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93360435"/>
                  </a:ext>
                </a:extLst>
              </a:tr>
              <a:tr h="229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</a:t>
                      </a:r>
                      <a:endParaRPr lang="ru-RU" sz="1100" b="1" spc="2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15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1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1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881607546"/>
                  </a:ext>
                </a:extLst>
              </a:tr>
            </a:tbl>
          </a:graphicData>
        </a:graphic>
      </p:graphicFrame>
      <p:graphicFrame>
        <p:nvGraphicFramePr>
          <p:cNvPr id="9" name="Таблица 157">
            <a:extLst>
              <a:ext uri="{FF2B5EF4-FFF2-40B4-BE49-F238E27FC236}">
                <a16:creationId xmlns="" xmlns:a16="http://schemas.microsoft.com/office/drawing/2014/main" id="{9FFC08B4-1CCE-82B4-1E69-2CEF9ACB8F10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="" xmlns:p14="http://schemas.microsoft.com/office/powerpoint/2010/main" val="689609495"/>
              </p:ext>
            </p:extLst>
          </p:nvPr>
        </p:nvGraphicFramePr>
        <p:xfrm>
          <a:off x="877191" y="2410592"/>
          <a:ext cx="3923410" cy="1302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0401">
                  <a:extLst>
                    <a:ext uri="{9D8B030D-6E8A-4147-A177-3AD203B41FA5}">
                      <a16:colId xmlns="" xmlns:a16="http://schemas.microsoft.com/office/drawing/2014/main" val="3465636121"/>
                    </a:ext>
                  </a:extLst>
                </a:gridCol>
                <a:gridCol w="1719072">
                  <a:extLst>
                    <a:ext uri="{9D8B030D-6E8A-4147-A177-3AD203B41FA5}">
                      <a16:colId xmlns="" xmlns:a16="http://schemas.microsoft.com/office/drawing/2014/main" val="1414734826"/>
                    </a:ext>
                  </a:extLst>
                </a:gridCol>
                <a:gridCol w="877824">
                  <a:extLst>
                    <a:ext uri="{9D8B030D-6E8A-4147-A177-3AD203B41FA5}">
                      <a16:colId xmlns="" xmlns:a16="http://schemas.microsoft.com/office/drawing/2014/main" val="2819683864"/>
                    </a:ext>
                  </a:extLst>
                </a:gridCol>
                <a:gridCol w="896113">
                  <a:extLst>
                    <a:ext uri="{9D8B030D-6E8A-4147-A177-3AD203B41FA5}">
                      <a16:colId xmlns="" xmlns:a16="http://schemas.microsoft.com/office/drawing/2014/main" val="1640652834"/>
                    </a:ext>
                  </a:extLst>
                </a:gridCol>
              </a:tblGrid>
              <a:tr h="229128">
                <a:tc>
                  <a:txBody>
                    <a:bodyPr/>
                    <a:lstStyle/>
                    <a:p>
                      <a:r>
                        <a:rPr lang="en-US" sz="11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#</a:t>
                      </a:r>
                      <a:endParaRPr lang="ru-RU" sz="11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F8710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59B5E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FD9B7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157803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ru-RU" sz="2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83392358"/>
                  </a:ext>
                </a:extLst>
              </a:tr>
              <a:tr h="229128">
                <a:tc>
                  <a:txBody>
                    <a:bodyPr/>
                    <a:lstStyle/>
                    <a:p>
                      <a:r>
                        <a:rPr lang="en-US" sz="11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</a:t>
                      </a:r>
                      <a:endParaRPr lang="ru-RU" sz="11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5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29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5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657360863"/>
                  </a:ext>
                </a:extLst>
              </a:tr>
              <a:tr h="229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35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5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7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93360435"/>
                  </a:ext>
                </a:extLst>
              </a:tr>
              <a:tr h="229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</a:t>
                      </a:r>
                      <a:endParaRPr lang="ru-RU" sz="1100" b="1" spc="2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4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83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881607546"/>
                  </a:ext>
                </a:extLst>
              </a:tr>
            </a:tbl>
          </a:graphicData>
        </a:graphic>
      </p:graphicFrame>
      <p:graphicFrame>
        <p:nvGraphicFramePr>
          <p:cNvPr id="10" name="Таблица 157">
            <a:extLst>
              <a:ext uri="{FF2B5EF4-FFF2-40B4-BE49-F238E27FC236}">
                <a16:creationId xmlns="" xmlns:a16="http://schemas.microsoft.com/office/drawing/2014/main" id="{36AF0B96-ECDD-71F0-AA5B-8BE7B60B9991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="" xmlns:p14="http://schemas.microsoft.com/office/powerpoint/2010/main" val="3839101398"/>
              </p:ext>
            </p:extLst>
          </p:nvPr>
        </p:nvGraphicFramePr>
        <p:xfrm>
          <a:off x="5350885" y="5181339"/>
          <a:ext cx="3923410" cy="1302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0401">
                  <a:extLst>
                    <a:ext uri="{9D8B030D-6E8A-4147-A177-3AD203B41FA5}">
                      <a16:colId xmlns="" xmlns:a16="http://schemas.microsoft.com/office/drawing/2014/main" val="3465636121"/>
                    </a:ext>
                  </a:extLst>
                </a:gridCol>
                <a:gridCol w="1719072">
                  <a:extLst>
                    <a:ext uri="{9D8B030D-6E8A-4147-A177-3AD203B41FA5}">
                      <a16:colId xmlns="" xmlns:a16="http://schemas.microsoft.com/office/drawing/2014/main" val="1414734826"/>
                    </a:ext>
                  </a:extLst>
                </a:gridCol>
                <a:gridCol w="877824">
                  <a:extLst>
                    <a:ext uri="{9D8B030D-6E8A-4147-A177-3AD203B41FA5}">
                      <a16:colId xmlns="" xmlns:a16="http://schemas.microsoft.com/office/drawing/2014/main" val="2819683864"/>
                    </a:ext>
                  </a:extLst>
                </a:gridCol>
                <a:gridCol w="896113">
                  <a:extLst>
                    <a:ext uri="{9D8B030D-6E8A-4147-A177-3AD203B41FA5}">
                      <a16:colId xmlns="" xmlns:a16="http://schemas.microsoft.com/office/drawing/2014/main" val="1640652834"/>
                    </a:ext>
                  </a:extLst>
                </a:gridCol>
              </a:tblGrid>
              <a:tr h="229128">
                <a:tc>
                  <a:txBody>
                    <a:bodyPr/>
                    <a:lstStyle/>
                    <a:p>
                      <a:r>
                        <a:rPr lang="en-US" sz="11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#</a:t>
                      </a:r>
                      <a:endParaRPr lang="ru-RU" sz="11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B66CA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A91A5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7CAD3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157803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ru-RU" sz="2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83392358"/>
                  </a:ext>
                </a:extLst>
              </a:tr>
              <a:tr h="229128">
                <a:tc>
                  <a:txBody>
                    <a:bodyPr/>
                    <a:lstStyle/>
                    <a:p>
                      <a:r>
                        <a:rPr lang="en-US" sz="11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</a:t>
                      </a:r>
                      <a:endParaRPr lang="ru-RU" sz="11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5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38</a:t>
                      </a:r>
                    </a:p>
                  </a:txBody>
                  <a:tcPr marL="0" marR="0" marT="54000" marB="54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99</a:t>
                      </a:r>
                    </a:p>
                  </a:txBody>
                  <a:tcPr marL="0" marR="0" marT="54000" marB="54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657360863"/>
                  </a:ext>
                </a:extLst>
              </a:tr>
              <a:tr h="229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2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5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93360435"/>
                  </a:ext>
                </a:extLst>
              </a:tr>
              <a:tr h="229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</a:t>
                      </a:r>
                      <a:endParaRPr lang="ru-RU" sz="1100" b="1" spc="2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5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1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881607546"/>
                  </a:ext>
                </a:extLst>
              </a:tr>
            </a:tbl>
          </a:graphicData>
        </a:graphic>
      </p:graphicFrame>
      <p:graphicFrame>
        <p:nvGraphicFramePr>
          <p:cNvPr id="11" name="Таблица 157">
            <a:extLst>
              <a:ext uri="{FF2B5EF4-FFF2-40B4-BE49-F238E27FC236}">
                <a16:creationId xmlns="" xmlns:a16="http://schemas.microsoft.com/office/drawing/2014/main" id="{66464E63-DB6A-DC6B-EA3A-029C93646F7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="" xmlns:p14="http://schemas.microsoft.com/office/powerpoint/2010/main" val="2475159765"/>
              </p:ext>
            </p:extLst>
          </p:nvPr>
        </p:nvGraphicFramePr>
        <p:xfrm>
          <a:off x="5350885" y="2410592"/>
          <a:ext cx="3923410" cy="1302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0401">
                  <a:extLst>
                    <a:ext uri="{9D8B030D-6E8A-4147-A177-3AD203B41FA5}">
                      <a16:colId xmlns="" xmlns:a16="http://schemas.microsoft.com/office/drawing/2014/main" val="3465636121"/>
                    </a:ext>
                  </a:extLst>
                </a:gridCol>
                <a:gridCol w="1719072">
                  <a:extLst>
                    <a:ext uri="{9D8B030D-6E8A-4147-A177-3AD203B41FA5}">
                      <a16:colId xmlns="" xmlns:a16="http://schemas.microsoft.com/office/drawing/2014/main" val="1414734826"/>
                    </a:ext>
                  </a:extLst>
                </a:gridCol>
                <a:gridCol w="877824">
                  <a:extLst>
                    <a:ext uri="{9D8B030D-6E8A-4147-A177-3AD203B41FA5}">
                      <a16:colId xmlns="" xmlns:a16="http://schemas.microsoft.com/office/drawing/2014/main" val="2819683864"/>
                    </a:ext>
                  </a:extLst>
                </a:gridCol>
                <a:gridCol w="896113">
                  <a:extLst>
                    <a:ext uri="{9D8B030D-6E8A-4147-A177-3AD203B41FA5}">
                      <a16:colId xmlns="" xmlns:a16="http://schemas.microsoft.com/office/drawing/2014/main" val="1640652834"/>
                    </a:ext>
                  </a:extLst>
                </a:gridCol>
              </a:tblGrid>
              <a:tr h="229128">
                <a:tc>
                  <a:txBody>
                    <a:bodyPr/>
                    <a:lstStyle/>
                    <a:p>
                      <a:r>
                        <a:rPr lang="en-US" sz="11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#</a:t>
                      </a:r>
                      <a:endParaRPr lang="ru-RU" sz="11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B3DC3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421CD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FD7FF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157803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ru-RU" sz="2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83392358"/>
                  </a:ext>
                </a:extLst>
              </a:tr>
              <a:tr h="229128">
                <a:tc>
                  <a:txBody>
                    <a:bodyPr/>
                    <a:lstStyle/>
                    <a:p>
                      <a:r>
                        <a:rPr lang="en-US" sz="11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</a:t>
                      </a:r>
                      <a:endParaRPr lang="ru-RU" sz="11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5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5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657360863"/>
                  </a:ext>
                </a:extLst>
              </a:tr>
              <a:tr h="229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1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3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5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93360435"/>
                  </a:ext>
                </a:extLst>
              </a:tr>
              <a:tr h="2291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</a:t>
                      </a:r>
                      <a:endParaRPr lang="ru-RU" sz="1100" b="1" spc="2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95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5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55</a:t>
                      </a:r>
                      <a:endParaRPr lang="ru-RU" sz="12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881607546"/>
                  </a:ext>
                </a:extLst>
              </a:tr>
            </a:tbl>
          </a:graphicData>
        </a:graphic>
      </p:graphicFrame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F34271A7-8A5F-D8F5-3ECF-F5B527FCE92A}"/>
              </a:ext>
            </a:extLst>
          </p:cNvPr>
          <p:cNvCxnSpPr>
            <a:cxnSpLocks/>
          </p:cNvCxnSpPr>
          <p:nvPr userDrawn="1"/>
        </p:nvCxnSpPr>
        <p:spPr>
          <a:xfrm>
            <a:off x="9687492" y="4680177"/>
            <a:ext cx="2065342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6A3F71B4-FCC1-CF42-03DB-23CFACB1EE1C}"/>
              </a:ext>
            </a:extLst>
          </p:cNvPr>
          <p:cNvSpPr txBox="1"/>
          <p:nvPr userDrawn="1"/>
        </p:nvSpPr>
        <p:spPr>
          <a:xfrm>
            <a:off x="9601201" y="4836755"/>
            <a:ext cx="233412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i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GB</a:t>
            </a:r>
            <a:endParaRPr lang="ru-RU" sz="1200" b="1" i="0" kern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дировки </a:t>
            </a:r>
            <a:r>
              <a:rPr lang="en-US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 (</a:t>
            </a: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расный</a:t>
            </a:r>
            <a:r>
              <a:rPr lang="en-US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  <a:b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</a:t>
            </a: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зеленый) и </a:t>
            </a:r>
            <a:r>
              <a:rPr lang="en-US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</a:t>
            </a: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синий) указываются в «</a:t>
            </a:r>
            <a:r>
              <a:rPr lang="ru-RU" sz="9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Цвет шрифта</a:t>
            </a: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  <a:r>
              <a:rPr lang="en-US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900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→</a:t>
            </a:r>
            <a:r>
              <a:rPr lang="en-US" sz="900" b="0" i="0" kern="1200" dirty="0">
                <a:solidFill>
                  <a:srgbClr val="3C3C3B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sz="900" b="0" i="0" kern="1200" dirty="0">
                <a:solidFill>
                  <a:srgbClr val="3C3C3B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«</a:t>
            </a:r>
            <a:r>
              <a:rPr lang="ru-RU" sz="9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ругие цвета</a:t>
            </a: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</a:t>
            </a:r>
            <a:r>
              <a:rPr lang="en-US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900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→</a:t>
            </a: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«</a:t>
            </a:r>
            <a:r>
              <a:rPr lang="ru-RU" sz="9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ектр</a:t>
            </a: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.</a:t>
            </a:r>
          </a:p>
          <a:p>
            <a:pPr>
              <a:spcAft>
                <a:spcPts val="600"/>
              </a:spcAft>
            </a:pP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версии </a:t>
            </a:r>
            <a:r>
              <a:rPr lang="en-US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werPoint</a:t>
            </a: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019 года</a:t>
            </a:r>
            <a:b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выше также есть возможность указать шестнадцатеричный код через знак «</a:t>
            </a:r>
            <a:r>
              <a:rPr lang="en-US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</a:t>
            </a:r>
            <a:r>
              <a:rPr lang="ru-RU" sz="9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.</a:t>
            </a:r>
          </a:p>
        </p:txBody>
      </p:sp>
    </p:spTree>
    <p:extLst>
      <p:ext uri="{BB962C8B-B14F-4D97-AF65-F5344CB8AC3E}">
        <p14:creationId xmlns="" xmlns:p14="http://schemas.microsoft.com/office/powerpoint/2010/main" val="1655531629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к создать QR-ко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0AFE035B-F71E-D87A-A15D-BFB2F420D316}"/>
              </a:ext>
            </a:extLst>
          </p:cNvPr>
          <p:cNvSpPr txBox="1"/>
          <p:nvPr userDrawn="1"/>
        </p:nvSpPr>
        <p:spPr>
          <a:xfrm>
            <a:off x="768836" y="312103"/>
            <a:ext cx="9683263" cy="7309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 КАК СОЗДАТЬ </a:t>
            </a:r>
            <a:r>
              <a:rPr lang="en-US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R</a:t>
            </a:r>
            <a:r>
              <a: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КОД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853508B5-5D2E-0DA0-25FC-E9291BFC4A0D}"/>
              </a:ext>
            </a:extLst>
          </p:cNvPr>
          <p:cNvSpPr txBox="1"/>
          <p:nvPr userDrawn="1"/>
        </p:nvSpPr>
        <p:spPr>
          <a:xfrm>
            <a:off x="6007295" y="2786832"/>
            <a:ext cx="2855499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ШАГ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о вкладке «</a:t>
            </a:r>
            <a:r>
              <a:rPr lang="ru-RU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изайн</a:t>
            </a: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 выберите узор, границу маркера и центр маркера как показано справа:</a:t>
            </a:r>
          </a:p>
        </p:txBody>
      </p:sp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8D4EB92E-20AF-4EFD-605F-B30613CEA6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4792" y="2806071"/>
            <a:ext cx="2152496" cy="2164823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="" xmlns:a16="http://schemas.microsoft.com/office/drawing/2014/main" id="{3FDFC484-C351-3DEE-4F03-A8A1177BA5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4792" y="5436966"/>
            <a:ext cx="2152496" cy="1086563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C68E23E6-D9C6-D8C8-98F6-11952DAC133C}"/>
              </a:ext>
            </a:extLst>
          </p:cNvPr>
          <p:cNvSpPr txBox="1"/>
          <p:nvPr userDrawn="1"/>
        </p:nvSpPr>
        <p:spPr>
          <a:xfrm>
            <a:off x="769527" y="1373884"/>
            <a:ext cx="2855499" cy="27546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400"/>
              </a:spcBef>
              <a:spcAft>
                <a:spcPts val="600"/>
              </a:spcAft>
            </a:pPr>
            <a:r>
              <a:rPr lang="ru-RU" sz="14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ЗВАНИЕ СТРАНИЦЫ</a:t>
            </a:r>
            <a:endParaRPr lang="en-US" sz="1400" b="1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шрифт</a:t>
            </a:r>
            <a:r>
              <a:rPr lang="en-US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;</a:t>
            </a: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цвет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dana; R 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0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0</a:t>
            </a: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змер шрифта: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 1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200" b="0" kern="1200" dirty="0" err="1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т</a:t>
            </a:r>
            <a:endParaRPr lang="ru-RU" sz="1200" b="1" spc="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гистр текста: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к в предложениях</a:t>
            </a: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ежзнаковый интервал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,5 </a:t>
            </a:r>
            <a:r>
              <a:rPr lang="ru-RU" sz="1200" b="0" kern="1200" dirty="0" err="1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т</a:t>
            </a:r>
            <a:endParaRPr lang="ru-RU" sz="1200" b="0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нтервал после абзаца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 </a:t>
            </a:r>
            <a:r>
              <a:rPr lang="ru-RU" sz="1200" b="0" kern="1200" dirty="0" err="1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т</a:t>
            </a:r>
            <a:endParaRPr lang="ru-RU" sz="1200" b="0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="" xmlns:a16="http://schemas.microsoft.com/office/drawing/2014/main" id="{924D138D-28F6-3E86-073D-307C3E0B3013}"/>
              </a:ext>
            </a:extLst>
          </p:cNvPr>
          <p:cNvSpPr txBox="1"/>
          <p:nvPr userDrawn="1"/>
        </p:nvSpPr>
        <p:spPr>
          <a:xfrm>
            <a:off x="6007295" y="1392738"/>
            <a:ext cx="290151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ШАГ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йдите на 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айт </a:t>
            </a:r>
            <a:r>
              <a:rPr lang="en" sz="1200" b="0" kern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hlinkClick r:id="rId4"/>
              </a:rPr>
              <a:t>qr-online.ru</a:t>
            </a:r>
            <a:r>
              <a:rPr lang="ru-RU" sz="1200" b="1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ru-RU" sz="1200" b="1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введите свою ссылку: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="" xmlns:a16="http://schemas.microsoft.com/office/drawing/2014/main" id="{2F24B915-AAB4-F2A6-5AE4-78A52F6881D1}"/>
              </a:ext>
            </a:extLst>
          </p:cNvPr>
          <p:cNvSpPr txBox="1"/>
          <p:nvPr userDrawn="1"/>
        </p:nvSpPr>
        <p:spPr>
          <a:xfrm>
            <a:off x="769526" y="4359748"/>
            <a:ext cx="3792641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400"/>
              </a:spcBef>
              <a:spcAft>
                <a:spcPts val="600"/>
              </a:spcAft>
            </a:pPr>
            <a:r>
              <a:rPr lang="ru-RU" sz="14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ДРЕС САЙТА</a:t>
            </a:r>
            <a:endParaRPr lang="ru-RU" sz="1400" b="1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шрифт</a:t>
            </a:r>
            <a:r>
              <a:rPr lang="en-US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;</a:t>
            </a: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цвет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dana;</a:t>
            </a:r>
            <a:r>
              <a:rPr lang="en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 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55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0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0</a:t>
            </a:r>
            <a:endParaRPr lang="ru-RU" sz="1200" b="0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змер шрифта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 1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200" b="0" kern="1200" dirty="0" err="1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т</a:t>
            </a:r>
            <a:endParaRPr lang="ru-RU" sz="1200" b="1" spc="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гистр текста: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СЕ ПРОПИСНЫЕ</a:t>
            </a: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ежзнаковый интервал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5 </a:t>
            </a:r>
            <a:r>
              <a:rPr lang="ru-RU" sz="1200" b="0" kern="1200" dirty="0" err="1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т</a:t>
            </a:r>
            <a:endParaRPr lang="en-US" sz="1200" b="0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89" name="Прямая соединительная линия 88">
            <a:extLst>
              <a:ext uri="{FF2B5EF4-FFF2-40B4-BE49-F238E27FC236}">
                <a16:creationId xmlns="" xmlns:a16="http://schemas.microsoft.com/office/drawing/2014/main" id="{3E58E983-AC89-DE41-3334-19B8760DBE9D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573035"/>
            <a:ext cx="5221288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>
            <a:extLst>
              <a:ext uri="{FF2B5EF4-FFF2-40B4-BE49-F238E27FC236}">
                <a16:creationId xmlns="" xmlns:a16="http://schemas.microsoft.com/office/drawing/2014/main" id="{84D6DBF5-1027-578E-A6FB-6530062DFE1A}"/>
              </a:ext>
            </a:extLst>
          </p:cNvPr>
          <p:cNvCxnSpPr>
            <a:cxnSpLocks/>
          </p:cNvCxnSpPr>
          <p:nvPr userDrawn="1"/>
        </p:nvCxnSpPr>
        <p:spPr>
          <a:xfrm>
            <a:off x="6096000" y="5203930"/>
            <a:ext cx="5221288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="" xmlns:a16="http://schemas.microsoft.com/office/drawing/2014/main" id="{EF08EF72-79C1-33CB-4035-A0928478DAC5}"/>
              </a:ext>
            </a:extLst>
          </p:cNvPr>
          <p:cNvSpPr txBox="1"/>
          <p:nvPr userDrawn="1"/>
        </p:nvSpPr>
        <p:spPr>
          <a:xfrm>
            <a:off x="6007295" y="5436966"/>
            <a:ext cx="2759633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ШАГ 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жмите на «</a:t>
            </a:r>
            <a:r>
              <a:rPr lang="ru-RU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хранить</a:t>
            </a: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,</a:t>
            </a:r>
            <a:b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сле чего выберите необходимый формат для скачивания. Например, </a:t>
            </a:r>
            <a:r>
              <a:rPr lang="en-US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NG</a:t>
            </a: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</a:p>
        </p:txBody>
      </p:sp>
      <p:grpSp>
        <p:nvGrpSpPr>
          <p:cNvPr id="119" name="Группа 118">
            <a:extLst>
              <a:ext uri="{FF2B5EF4-FFF2-40B4-BE49-F238E27FC236}">
                <a16:creationId xmlns="" xmlns:a16="http://schemas.microsoft.com/office/drawing/2014/main" id="{2CB3207A-D3F4-E2EB-0004-8BD163E32C6B}"/>
              </a:ext>
            </a:extLst>
          </p:cNvPr>
          <p:cNvGrpSpPr/>
          <p:nvPr userDrawn="1"/>
        </p:nvGrpSpPr>
        <p:grpSpPr>
          <a:xfrm>
            <a:off x="2428568" y="1540411"/>
            <a:ext cx="1096873" cy="1235359"/>
            <a:chOff x="2428568" y="1540411"/>
            <a:chExt cx="1096873" cy="1235359"/>
          </a:xfrm>
        </p:grpSpPr>
        <p:sp>
          <p:nvSpPr>
            <p:cNvPr id="36" name="Закрывающая квадратная скобка 35">
              <a:extLst>
                <a:ext uri="{FF2B5EF4-FFF2-40B4-BE49-F238E27FC236}">
                  <a16:creationId xmlns="" xmlns:a16="http://schemas.microsoft.com/office/drawing/2014/main" id="{FC2B38C2-7761-A74F-CF57-92C1D2F05EC5}"/>
                </a:ext>
              </a:extLst>
            </p:cNvPr>
            <p:cNvSpPr/>
            <p:nvPr userDrawn="1"/>
          </p:nvSpPr>
          <p:spPr>
            <a:xfrm flipH="1">
              <a:off x="3479722" y="2441980"/>
              <a:ext cx="45719" cy="333790"/>
            </a:xfrm>
            <a:prstGeom prst="rightBracket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109" name="Группа 108">
              <a:extLst>
                <a:ext uri="{FF2B5EF4-FFF2-40B4-BE49-F238E27FC236}">
                  <a16:creationId xmlns="" xmlns:a16="http://schemas.microsoft.com/office/drawing/2014/main" id="{CE9B67FC-5ECD-FC58-EC42-A6EC32362A81}"/>
                </a:ext>
              </a:extLst>
            </p:cNvPr>
            <p:cNvGrpSpPr/>
            <p:nvPr userDrawn="1"/>
          </p:nvGrpSpPr>
          <p:grpSpPr>
            <a:xfrm>
              <a:off x="2428568" y="1540411"/>
              <a:ext cx="1051154" cy="1068467"/>
              <a:chOff x="2428568" y="1607574"/>
              <a:chExt cx="1051154" cy="1001301"/>
            </a:xfrm>
          </p:grpSpPr>
          <p:cxnSp>
            <p:nvCxnSpPr>
              <p:cNvPr id="103" name="Прямая соединительная линия 102">
                <a:extLst>
                  <a:ext uri="{FF2B5EF4-FFF2-40B4-BE49-F238E27FC236}">
                    <a16:creationId xmlns="" xmlns:a16="http://schemas.microsoft.com/office/drawing/2014/main" id="{39480758-7DBA-9FDA-C664-B9948A8B2D7B}"/>
                  </a:ext>
                </a:extLst>
              </p:cNvPr>
              <p:cNvCxnSpPr>
                <a:cxnSpLocks/>
                <a:stCxn id="36" idx="2"/>
              </p:cNvCxnSpPr>
              <p:nvPr userDrawn="1"/>
            </p:nvCxnSpPr>
            <p:spPr>
              <a:xfrm flipH="1">
                <a:off x="3200400" y="2608875"/>
                <a:ext cx="279322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Прямая соединительная линия 105">
                <a:extLst>
                  <a:ext uri="{FF2B5EF4-FFF2-40B4-BE49-F238E27FC236}">
                    <a16:creationId xmlns="" xmlns:a16="http://schemas.microsoft.com/office/drawing/2014/main" id="{FBBB24CE-7778-B8F8-7712-F49207D2BB9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3200400" y="1607574"/>
                <a:ext cx="0" cy="1001301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Прямая соединительная линия 107">
                <a:extLst>
                  <a:ext uri="{FF2B5EF4-FFF2-40B4-BE49-F238E27FC236}">
                    <a16:creationId xmlns="" xmlns:a16="http://schemas.microsoft.com/office/drawing/2014/main" id="{D261FDC0-B6AA-5C17-BCA3-F3C57DA7B7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2428568" y="1607574"/>
                <a:ext cx="771832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20" name="Группа 119">
            <a:extLst>
              <a:ext uri="{FF2B5EF4-FFF2-40B4-BE49-F238E27FC236}">
                <a16:creationId xmlns="" xmlns:a16="http://schemas.microsoft.com/office/drawing/2014/main" id="{503CF35D-B535-78E5-2176-E8E510396278}"/>
              </a:ext>
            </a:extLst>
          </p:cNvPr>
          <p:cNvGrpSpPr/>
          <p:nvPr userDrawn="1"/>
        </p:nvGrpSpPr>
        <p:grpSpPr>
          <a:xfrm>
            <a:off x="2841523" y="2820553"/>
            <a:ext cx="683918" cy="1700280"/>
            <a:chOff x="2841523" y="2820553"/>
            <a:chExt cx="683918" cy="1700280"/>
          </a:xfrm>
        </p:grpSpPr>
        <p:sp>
          <p:nvSpPr>
            <p:cNvPr id="37" name="Закрывающая квадратная скобка 36">
              <a:extLst>
                <a:ext uri="{FF2B5EF4-FFF2-40B4-BE49-F238E27FC236}">
                  <a16:creationId xmlns="" xmlns:a16="http://schemas.microsoft.com/office/drawing/2014/main" id="{96ABB7DD-9D83-A79E-E447-186129EF8CD2}"/>
                </a:ext>
              </a:extLst>
            </p:cNvPr>
            <p:cNvSpPr/>
            <p:nvPr userDrawn="1"/>
          </p:nvSpPr>
          <p:spPr>
            <a:xfrm flipH="1">
              <a:off x="3479722" y="2820553"/>
              <a:ext cx="45719" cy="248692"/>
            </a:xfrm>
            <a:prstGeom prst="rightBracket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111" name="Группа 110">
              <a:extLst>
                <a:ext uri="{FF2B5EF4-FFF2-40B4-BE49-F238E27FC236}">
                  <a16:creationId xmlns="" xmlns:a16="http://schemas.microsoft.com/office/drawing/2014/main" id="{43AD3A6C-03A2-AFB2-E3BE-5E07F04BCAC5}"/>
                </a:ext>
              </a:extLst>
            </p:cNvPr>
            <p:cNvGrpSpPr/>
            <p:nvPr userDrawn="1"/>
          </p:nvGrpSpPr>
          <p:grpSpPr>
            <a:xfrm flipV="1">
              <a:off x="2841523" y="2944618"/>
              <a:ext cx="638199" cy="1576215"/>
              <a:chOff x="2841523" y="1640114"/>
              <a:chExt cx="638199" cy="968761"/>
            </a:xfrm>
          </p:grpSpPr>
          <p:cxnSp>
            <p:nvCxnSpPr>
              <p:cNvPr id="112" name="Прямая соединительная линия 111">
                <a:extLst>
                  <a:ext uri="{FF2B5EF4-FFF2-40B4-BE49-F238E27FC236}">
                    <a16:creationId xmlns="" xmlns:a16="http://schemas.microsoft.com/office/drawing/2014/main" id="{F4E08F86-271D-270F-B47F-542C3522FC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>
                <a:off x="3200400" y="2608875"/>
                <a:ext cx="279322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Прямая соединительная линия 112">
                <a:extLst>
                  <a:ext uri="{FF2B5EF4-FFF2-40B4-BE49-F238E27FC236}">
                    <a16:creationId xmlns="" xmlns:a16="http://schemas.microsoft.com/office/drawing/2014/main" id="{84B92628-355B-0838-9E27-C2BA81243B86}"/>
                  </a:ext>
                </a:extLst>
              </p:cNvPr>
              <p:cNvCxnSpPr/>
              <p:nvPr userDrawn="1"/>
            </p:nvCxnSpPr>
            <p:spPr>
              <a:xfrm flipV="1">
                <a:off x="3200400" y="1640114"/>
                <a:ext cx="0" cy="968761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Прямая соединительная линия 113">
                <a:extLst>
                  <a:ext uri="{FF2B5EF4-FFF2-40B4-BE49-F238E27FC236}">
                    <a16:creationId xmlns="" xmlns:a16="http://schemas.microsoft.com/office/drawing/2014/main" id="{5ED62FD6-8888-3D25-C595-447099E722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H="1" flipV="1">
                <a:off x="2841523" y="1640114"/>
                <a:ext cx="358877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18" name="Группа 117">
            <a:extLst>
              <a:ext uri="{FF2B5EF4-FFF2-40B4-BE49-F238E27FC236}">
                <a16:creationId xmlns="" xmlns:a16="http://schemas.microsoft.com/office/drawing/2014/main" id="{16B6B42E-9867-9924-3C47-7AE1E7587828}"/>
              </a:ext>
            </a:extLst>
          </p:cNvPr>
          <p:cNvGrpSpPr/>
          <p:nvPr userDrawn="1"/>
        </p:nvGrpSpPr>
        <p:grpSpPr>
          <a:xfrm>
            <a:off x="5187113" y="1415562"/>
            <a:ext cx="713502" cy="859603"/>
            <a:chOff x="5187113" y="1415562"/>
            <a:chExt cx="713502" cy="859603"/>
          </a:xfrm>
        </p:grpSpPr>
        <p:sp>
          <p:nvSpPr>
            <p:cNvPr id="33" name="Закрывающая квадратная скобка 32">
              <a:extLst>
                <a:ext uri="{FF2B5EF4-FFF2-40B4-BE49-F238E27FC236}">
                  <a16:creationId xmlns="" xmlns:a16="http://schemas.microsoft.com/office/drawing/2014/main" id="{4E1BCFDE-BCC6-F31D-FAA4-2659F75306B3}"/>
                </a:ext>
              </a:extLst>
            </p:cNvPr>
            <p:cNvSpPr/>
            <p:nvPr userDrawn="1"/>
          </p:nvSpPr>
          <p:spPr>
            <a:xfrm>
              <a:off x="5187113" y="1415562"/>
              <a:ext cx="45719" cy="859603"/>
            </a:xfrm>
            <a:prstGeom prst="rightBracket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116" name="Прямая соединительная линия 115">
              <a:extLst>
                <a:ext uri="{FF2B5EF4-FFF2-40B4-BE49-F238E27FC236}">
                  <a16:creationId xmlns="" xmlns:a16="http://schemas.microsoft.com/office/drawing/2014/main" id="{7E085032-AF13-95FE-2687-BEBE15682934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5232832" y="1575132"/>
              <a:ext cx="667783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Группа 3">
            <a:extLst>
              <a:ext uri="{FF2B5EF4-FFF2-40B4-BE49-F238E27FC236}">
                <a16:creationId xmlns="" xmlns:a16="http://schemas.microsoft.com/office/drawing/2014/main" id="{4E909EE9-BEAC-87F8-481D-3ECD470C72E8}"/>
              </a:ext>
            </a:extLst>
          </p:cNvPr>
          <p:cNvGrpSpPr/>
          <p:nvPr userDrawn="1"/>
        </p:nvGrpSpPr>
        <p:grpSpPr>
          <a:xfrm>
            <a:off x="3795929" y="1410038"/>
            <a:ext cx="1546031" cy="1704838"/>
            <a:chOff x="3795929" y="1410038"/>
            <a:chExt cx="1546031" cy="1704838"/>
          </a:xfrm>
        </p:grpSpPr>
        <p:pic>
          <p:nvPicPr>
            <p:cNvPr id="5" name="Рисунок 4">
              <a:extLst>
                <a:ext uri="{FF2B5EF4-FFF2-40B4-BE49-F238E27FC236}">
                  <a16:creationId xmlns="" xmlns:a16="http://schemas.microsoft.com/office/drawing/2014/main" id="{DBB6FC8C-5A6B-DAF2-2CE4-AD54D17E7F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92379" y="1410038"/>
              <a:ext cx="865187" cy="865127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="" xmlns:a16="http://schemas.microsoft.com/office/drawing/2014/main" id="{7B7D0C3C-96DC-648A-2797-79BE97CF0585}"/>
                </a:ext>
              </a:extLst>
            </p:cNvPr>
            <p:cNvSpPr txBox="1"/>
            <p:nvPr userDrawn="1"/>
          </p:nvSpPr>
          <p:spPr>
            <a:xfrm>
              <a:off x="3795929" y="2391601"/>
              <a:ext cx="1546031" cy="7232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200" b="0" i="0" spc="50" baseline="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Карьерный портал РЖД</a:t>
              </a:r>
              <a:endParaRPr lang="en-US" sz="1200" b="0" i="0" spc="50" baseline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en-US" sz="1200" b="0" i="0" spc="150" baseline="0" dirty="0">
                  <a:ln>
                    <a:noFill/>
                  </a:ln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EAM</a:t>
              </a:r>
              <a:r>
                <a:rPr lang="en-US" sz="1200" b="0" i="0" spc="100" baseline="0" dirty="0">
                  <a:ln>
                    <a:noFill/>
                  </a:ln>
                  <a:solidFill>
                    <a:schemeClr val="accent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.RZD.RU</a:t>
              </a:r>
              <a:endParaRPr lang="ru-RU" sz="1200" b="0" i="0" spc="100" baseline="0" dirty="0">
                <a:ln>
                  <a:noFill/>
                </a:ln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A8ACB783-45BF-31E2-4080-73AB8773688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4792" y="1485875"/>
            <a:ext cx="2152496" cy="82572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98257774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93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Рабочие) 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>
            <a:extLst>
              <a:ext uri="{FF2B5EF4-FFF2-40B4-BE49-F238E27FC236}">
                <a16:creationId xmlns="" xmlns:a16="http://schemas.microsoft.com/office/drawing/2014/main" id="{652A3713-1DE2-F5A8-0F79-EFDCF3DC72A8}"/>
              </a:ext>
            </a:extLst>
          </p:cNvPr>
          <p:cNvGrpSpPr/>
          <p:nvPr userDrawn="1"/>
        </p:nvGrpSpPr>
        <p:grpSpPr>
          <a:xfrm>
            <a:off x="0" y="1376362"/>
            <a:ext cx="12479070" cy="3672171"/>
            <a:chOff x="28575" y="1376362"/>
            <a:chExt cx="12479070" cy="3672171"/>
          </a:xfrm>
          <a:solidFill>
            <a:srgbClr val="FF8710"/>
          </a:solidFill>
        </p:grpSpPr>
        <p:sp>
          <p:nvSpPr>
            <p:cNvPr id="11" name="Прямоугольник 2">
              <a:extLst>
                <a:ext uri="{FF2B5EF4-FFF2-40B4-BE49-F238E27FC236}">
                  <a16:creationId xmlns="" xmlns:a16="http://schemas.microsoft.com/office/drawing/2014/main" id="{C8F80AAA-8A74-5FAF-C2B1-6723DDA245FD}"/>
                </a:ext>
              </a:extLst>
            </p:cNvPr>
            <p:cNvSpPr/>
            <p:nvPr userDrawn="1"/>
          </p:nvSpPr>
          <p:spPr>
            <a:xfrm>
              <a:off x="28575" y="1376363"/>
              <a:ext cx="10149541" cy="3672170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9541" h="3672170">
                  <a:moveTo>
                    <a:pt x="0" y="0"/>
                  </a:moveTo>
                  <a:lnTo>
                    <a:pt x="10149541" y="3175"/>
                  </a:lnTo>
                  <a:lnTo>
                    <a:pt x="7395135" y="3667501"/>
                  </a:lnTo>
                  <a:lnTo>
                    <a:pt x="0" y="367217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" name="Прямоугольник 2">
              <a:extLst>
                <a:ext uri="{FF2B5EF4-FFF2-40B4-BE49-F238E27FC236}">
                  <a16:creationId xmlns="" xmlns:a16="http://schemas.microsoft.com/office/drawing/2014/main" id="{F2C24A5E-96AF-AD22-B446-B08F2D5FD9AB}"/>
                </a:ext>
              </a:extLst>
            </p:cNvPr>
            <p:cNvSpPr/>
            <p:nvPr userDrawn="1"/>
          </p:nvSpPr>
          <p:spPr>
            <a:xfrm>
              <a:off x="9588944" y="1377427"/>
              <a:ext cx="1299451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7585" h="3659521">
                  <a:moveTo>
                    <a:pt x="2728586" y="6299"/>
                  </a:moveTo>
                  <a:lnTo>
                    <a:pt x="3877585" y="0"/>
                  </a:lnTo>
                  <a:lnTo>
                    <a:pt x="1123178" y="3654851"/>
                  </a:lnTo>
                  <a:lnTo>
                    <a:pt x="0" y="3659521"/>
                  </a:lnTo>
                  <a:lnTo>
                    <a:pt x="2728586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Прямоугольник 2">
              <a:extLst>
                <a:ext uri="{FF2B5EF4-FFF2-40B4-BE49-F238E27FC236}">
                  <a16:creationId xmlns="" xmlns:a16="http://schemas.microsoft.com/office/drawing/2014/main" id="{E5BB677D-8680-DDC8-96D4-94CF8DC9FAC1}"/>
                </a:ext>
              </a:extLst>
            </p:cNvPr>
            <p:cNvSpPr/>
            <p:nvPr userDrawn="1"/>
          </p:nvSpPr>
          <p:spPr>
            <a:xfrm>
              <a:off x="10287445" y="1377427"/>
              <a:ext cx="1232776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8626" h="3659521">
                  <a:moveTo>
                    <a:pt x="2747535" y="6299"/>
                  </a:moveTo>
                  <a:lnTo>
                    <a:pt x="3678626" y="0"/>
                  </a:lnTo>
                  <a:lnTo>
                    <a:pt x="952642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" name="Прямоугольник 2">
              <a:extLst>
                <a:ext uri="{FF2B5EF4-FFF2-40B4-BE49-F238E27FC236}">
                  <a16:creationId xmlns="" xmlns:a16="http://schemas.microsoft.com/office/drawing/2014/main" id="{944E8809-ABAF-574E-41B8-29348CF8A110}"/>
                </a:ext>
              </a:extLst>
            </p:cNvPr>
            <p:cNvSpPr/>
            <p:nvPr userDrawn="1"/>
          </p:nvSpPr>
          <p:spPr>
            <a:xfrm>
              <a:off x="10906570" y="1377427"/>
              <a:ext cx="1175626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8090" h="3659521">
                  <a:moveTo>
                    <a:pt x="2747535" y="6299"/>
                  </a:moveTo>
                  <a:lnTo>
                    <a:pt x="3508090" y="0"/>
                  </a:lnTo>
                  <a:lnTo>
                    <a:pt x="782106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Прямоугольник 2">
              <a:extLst>
                <a:ext uri="{FF2B5EF4-FFF2-40B4-BE49-F238E27FC236}">
                  <a16:creationId xmlns="" xmlns:a16="http://schemas.microsoft.com/office/drawing/2014/main" id="{A77A7A27-FC04-AB82-5B7B-877BE650A89E}"/>
                </a:ext>
              </a:extLst>
            </p:cNvPr>
            <p:cNvSpPr/>
            <p:nvPr userDrawn="1"/>
          </p:nvSpPr>
          <p:spPr>
            <a:xfrm>
              <a:off x="11500294" y="1376362"/>
              <a:ext cx="1007351" cy="1225873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  <a:gd name="connsiteX0" fmla="*/ 2103285 w 2863840"/>
                <a:gd name="connsiteY0" fmla="*/ 6299 h 3654851"/>
                <a:gd name="connsiteX1" fmla="*/ 2863840 w 2863840"/>
                <a:gd name="connsiteY1" fmla="*/ 0 h 3654851"/>
                <a:gd name="connsiteX2" fmla="*/ 137856 w 2863840"/>
                <a:gd name="connsiteY2" fmla="*/ 3654851 h 3654851"/>
                <a:gd name="connsiteX3" fmla="*/ 0 w 2863840"/>
                <a:gd name="connsiteY3" fmla="*/ 3536356 h 3654851"/>
                <a:gd name="connsiteX4" fmla="*/ 2103285 w 2863840"/>
                <a:gd name="connsiteY4" fmla="*/ 6299 h 3654851"/>
                <a:gd name="connsiteX0" fmla="*/ 2216976 w 2977531"/>
                <a:gd name="connsiteY0" fmla="*/ 6299 h 3654851"/>
                <a:gd name="connsiteX1" fmla="*/ 2977531 w 2977531"/>
                <a:gd name="connsiteY1" fmla="*/ 0 h 3654851"/>
                <a:gd name="connsiteX2" fmla="*/ 251547 w 2977531"/>
                <a:gd name="connsiteY2" fmla="*/ 3654851 h 3654851"/>
                <a:gd name="connsiteX3" fmla="*/ 0 w 2977531"/>
                <a:gd name="connsiteY3" fmla="*/ 3631098 h 3654851"/>
                <a:gd name="connsiteX4" fmla="*/ 2216976 w 2977531"/>
                <a:gd name="connsiteY4" fmla="*/ 6299 h 3654851"/>
                <a:gd name="connsiteX0" fmla="*/ 2008542 w 2769097"/>
                <a:gd name="connsiteY0" fmla="*/ 6299 h 3654851"/>
                <a:gd name="connsiteX1" fmla="*/ 2769097 w 2769097"/>
                <a:gd name="connsiteY1" fmla="*/ 0 h 3654851"/>
                <a:gd name="connsiteX2" fmla="*/ 43113 w 2769097"/>
                <a:gd name="connsiteY2" fmla="*/ 3654851 h 3654851"/>
                <a:gd name="connsiteX3" fmla="*/ 0 w 2769097"/>
                <a:gd name="connsiteY3" fmla="*/ 3242654 h 3654851"/>
                <a:gd name="connsiteX4" fmla="*/ 2008542 w 2769097"/>
                <a:gd name="connsiteY4" fmla="*/ 6299 h 3654851"/>
                <a:gd name="connsiteX0" fmla="*/ 2245398 w 3005953"/>
                <a:gd name="connsiteY0" fmla="*/ 6299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245398 w 3005953"/>
                <a:gd name="connsiteY4" fmla="*/ 6299 h 3654851"/>
                <a:gd name="connsiteX0" fmla="*/ 2633843 w 3005953"/>
                <a:gd name="connsiteY0" fmla="*/ 15774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633843 w 3005953"/>
                <a:gd name="connsiteY4" fmla="*/ 15774 h 3654851"/>
                <a:gd name="connsiteX0" fmla="*/ 2794905 w 3005953"/>
                <a:gd name="connsiteY0" fmla="*/ 25248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794905 w 3005953"/>
                <a:gd name="connsiteY4" fmla="*/ 25248 h 3654851"/>
                <a:gd name="connsiteX0" fmla="*/ 2757008 w 3005953"/>
                <a:gd name="connsiteY0" fmla="*/ 0 h 3658026"/>
                <a:gd name="connsiteX1" fmla="*/ 3005953 w 3005953"/>
                <a:gd name="connsiteY1" fmla="*/ 3175 h 3658026"/>
                <a:gd name="connsiteX2" fmla="*/ 279969 w 3005953"/>
                <a:gd name="connsiteY2" fmla="*/ 3658026 h 3658026"/>
                <a:gd name="connsiteX3" fmla="*/ 0 w 3005953"/>
                <a:gd name="connsiteY3" fmla="*/ 3653222 h 3658026"/>
                <a:gd name="connsiteX4" fmla="*/ 2757008 w 3005953"/>
                <a:gd name="connsiteY4" fmla="*/ 0 h 3658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5953" h="3658026">
                  <a:moveTo>
                    <a:pt x="2757008" y="0"/>
                  </a:moveTo>
                  <a:lnTo>
                    <a:pt x="3005953" y="3175"/>
                  </a:lnTo>
                  <a:lnTo>
                    <a:pt x="279969" y="3658026"/>
                  </a:lnTo>
                  <a:lnTo>
                    <a:pt x="0" y="3653222"/>
                  </a:lnTo>
                  <a:lnTo>
                    <a:pt x="2757008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40A1C9D-1393-2829-F295-F35E4F037A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74713" y="1818288"/>
            <a:ext cx="7813675" cy="2785241"/>
          </a:xfrm>
        </p:spPr>
        <p:txBody>
          <a:bodyPr anchor="t">
            <a:normAutofit/>
          </a:bodyPr>
          <a:lstStyle>
            <a:lvl1pPr algn="l">
              <a:defRPr sz="480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/ ЗАГОЛОВОК ЗАГЛАВНЫМИ</a:t>
            </a:r>
            <a:br>
              <a:rPr lang="ru-RU" dirty="0"/>
            </a:br>
            <a:r>
              <a:rPr lang="ru-RU" dirty="0"/>
              <a:t>БУКВАМИ МАКСИМУМ</a:t>
            </a:r>
            <a:br>
              <a:rPr lang="ru-RU" dirty="0"/>
            </a:br>
            <a:r>
              <a:rPr lang="ru-RU" dirty="0"/>
              <a:t>4 СТРОК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C63BDE24-C031-D378-717E-89E36F6EDC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74713" y="5277997"/>
            <a:ext cx="7813675" cy="706878"/>
          </a:xfrm>
        </p:spPr>
        <p:txBody>
          <a:bodyPr/>
          <a:lstStyle>
            <a:lvl1pPr marL="0" indent="0" algn="l">
              <a:buNone/>
              <a:defRPr sz="24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3D6DEBFD-6163-B06F-EF46-78A48860E3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5613" y="5461864"/>
            <a:ext cx="2403475" cy="523011"/>
          </a:xfrm>
          <a:prstGeom prst="rect">
            <a:avLst/>
          </a:prstGeom>
        </p:spPr>
      </p:pic>
      <p:grpSp>
        <p:nvGrpSpPr>
          <p:cNvPr id="8" name="Группа 7">
            <a:extLst>
              <a:ext uri="{FF2B5EF4-FFF2-40B4-BE49-F238E27FC236}">
                <a16:creationId xmlns="" xmlns:a16="http://schemas.microsoft.com/office/drawing/2014/main" id="{C81EB675-2032-3FC2-8461-B62DE10E52EF}"/>
              </a:ext>
            </a:extLst>
          </p:cNvPr>
          <p:cNvGrpSpPr/>
          <p:nvPr userDrawn="1"/>
        </p:nvGrpSpPr>
        <p:grpSpPr>
          <a:xfrm>
            <a:off x="874713" y="551990"/>
            <a:ext cx="45719" cy="272382"/>
            <a:chOff x="1046163" y="441325"/>
            <a:chExt cx="45719" cy="272382"/>
          </a:xfrm>
          <a:solidFill>
            <a:schemeClr val="tx1"/>
          </a:solidFill>
        </p:grpSpPr>
        <p:sp>
          <p:nvSpPr>
            <p:cNvPr id="16" name="Прямоугольник 15">
              <a:extLst>
                <a:ext uri="{FF2B5EF4-FFF2-40B4-BE49-F238E27FC236}">
                  <a16:creationId xmlns="" xmlns:a16="http://schemas.microsoft.com/office/drawing/2014/main" id="{33594B65-5F04-CCBA-1C1A-A1BBBE67C2E7}"/>
                </a:ext>
              </a:extLst>
            </p:cNvPr>
            <p:cNvSpPr/>
            <p:nvPr userDrawn="1"/>
          </p:nvSpPr>
          <p:spPr>
            <a:xfrm>
              <a:off x="1046163" y="441325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="" xmlns:a16="http://schemas.microsoft.com/office/drawing/2014/main" id="{78BA2D45-682F-A0E5-F970-D9F138C15FAC}"/>
                </a:ext>
              </a:extLst>
            </p:cNvPr>
            <p:cNvSpPr/>
            <p:nvPr userDrawn="1"/>
          </p:nvSpPr>
          <p:spPr>
            <a:xfrm>
              <a:off x="1046163" y="554657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="" xmlns:a16="http://schemas.microsoft.com/office/drawing/2014/main" id="{176907D2-D1CD-240C-B67B-A5E080B4A574}"/>
                </a:ext>
              </a:extLst>
            </p:cNvPr>
            <p:cNvSpPr/>
            <p:nvPr userDrawn="1"/>
          </p:nvSpPr>
          <p:spPr>
            <a:xfrm>
              <a:off x="1046163" y="667988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351331639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7" orient="horz" pos="550" userDrawn="1">
          <p15:clr>
            <a:srgbClr val="A4A3A4"/>
          </p15:clr>
        </p15:guide>
        <p15:guide id="18" orient="horz" pos="3770" userDrawn="1">
          <p15:clr>
            <a:srgbClr val="A4A3A4"/>
          </p15:clr>
        </p15:guide>
        <p15:guide id="19" orient="horz" pos="4042" userDrawn="1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к оформить таблиц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7F1A065D-211F-2A47-C1D8-F66902483B4C}"/>
              </a:ext>
            </a:extLst>
          </p:cNvPr>
          <p:cNvSpPr txBox="1"/>
          <p:nvPr userDrawn="1"/>
        </p:nvSpPr>
        <p:spPr>
          <a:xfrm>
            <a:off x="-2508718" y="4045875"/>
            <a:ext cx="2394449" cy="22159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400"/>
              </a:spcBef>
              <a:spcAft>
                <a:spcPts val="600"/>
              </a:spcAft>
            </a:pPr>
            <a:r>
              <a:rPr lang="ru-RU" sz="1200" b="1" kern="1200" spc="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ЫДЕЛЕНИЕ</a:t>
            </a:r>
            <a:r>
              <a:rPr lang="en-US" sz="1200" b="1" kern="1200" spc="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sz="1200" b="1" kern="1200" spc="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b="1" kern="1200" spc="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ЯЧЕЕК</a:t>
            </a:r>
            <a:endParaRPr lang="ru-RU" sz="1200" b="1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06375" indent="-206375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itchFamily="2" charset="2"/>
              <a:buChar char="§"/>
              <a:tabLst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цвета заливки:</a:t>
            </a:r>
            <a:endParaRPr lang="ru-RU" sz="1200" b="0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5826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 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17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17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17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нейтральный)</a:t>
            </a:r>
          </a:p>
          <a:p>
            <a:pPr marL="5826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 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6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163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23</a:t>
            </a:r>
            <a:b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положительный)</a:t>
            </a:r>
            <a:endParaRPr lang="en-US" sz="1200" b="0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5826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 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55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153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153</a:t>
            </a:r>
            <a:b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отрицательный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4E1ECB75-E8CC-63FC-7991-C8FF8691F0F4}"/>
              </a:ext>
            </a:extLst>
          </p:cNvPr>
          <p:cNvSpPr txBox="1"/>
          <p:nvPr userDrawn="1"/>
        </p:nvSpPr>
        <p:spPr>
          <a:xfrm>
            <a:off x="768837" y="312103"/>
            <a:ext cx="5304657" cy="13696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 КАК ОФОРМИТЬ</a:t>
            </a:r>
            <a:br>
              <a: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АБЛИЦУ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91809625-CD69-E979-3EA6-3AEAD213EC77}"/>
              </a:ext>
            </a:extLst>
          </p:cNvPr>
          <p:cNvSpPr txBox="1"/>
          <p:nvPr userDrawn="1"/>
        </p:nvSpPr>
        <p:spPr>
          <a:xfrm>
            <a:off x="8437418" y="1945768"/>
            <a:ext cx="3315416" cy="46115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400"/>
              </a:spcBef>
              <a:spcAft>
                <a:spcPts val="600"/>
              </a:spcAft>
            </a:pPr>
            <a:r>
              <a:rPr lang="ru-RU" sz="14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ШАПКА</a:t>
            </a:r>
            <a:r>
              <a:rPr lang="ru-RU" sz="1400" b="0" kern="1200" spc="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ru-RU" sz="1400" b="0" kern="1200" spc="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3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олько нижняя граница с черным уголочком на левом конце:</a:t>
            </a:r>
          </a:p>
          <a:p>
            <a:pPr marL="206375" indent="-206375"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§"/>
              <a:tabLst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олщина линии: 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5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200" b="0" kern="1200" dirty="0" err="1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т</a:t>
            </a:r>
            <a:endParaRPr lang="en-US" sz="1200" b="0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цвет линии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 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0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0 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черный)</a:t>
            </a: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ливка ячеек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нет</a:t>
            </a: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шрифт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dana 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лужирный</a:t>
            </a: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змер шрифта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до 10 </a:t>
            </a:r>
            <a:r>
              <a:rPr lang="ru-RU" sz="1200" b="0" kern="1200" dirty="0" err="1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т</a:t>
            </a:r>
            <a:endParaRPr lang="ru-RU" sz="1200" b="1" spc="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гистр текста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ВСЕ ПРОПИСНЫЕ</a:t>
            </a: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ежзнаковый интервал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 </a:t>
            </a:r>
            <a:r>
              <a:rPr lang="ru-RU" sz="1200" b="0" kern="1200" dirty="0" err="1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т</a:t>
            </a:r>
            <a:endParaRPr lang="ru-RU" sz="1200" b="0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ыровнять ячейки: 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верхнему краю</a:t>
            </a:r>
          </a:p>
          <a:p>
            <a:pPr>
              <a:spcBef>
                <a:spcPts val="1400"/>
              </a:spcBef>
              <a:spcAft>
                <a:spcPts val="600"/>
              </a:spcAft>
            </a:pPr>
            <a:r>
              <a:rPr lang="ru-RU" sz="14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ФОРМЛЕНИЕ ЯЧЕЕК</a:t>
            </a:r>
            <a:r>
              <a:rPr lang="ru-RU" sz="1400" b="0" kern="1200" spc="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ru-RU" sz="1400" b="0" kern="1200" spc="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3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олько внутренние горизонтальные границы между ячейками:</a:t>
            </a:r>
          </a:p>
          <a:p>
            <a:pPr marL="206375" indent="-206375"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§"/>
              <a:tabLst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олщина</a:t>
            </a:r>
            <a:r>
              <a:rPr lang="en-US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инии: 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 </a:t>
            </a:r>
            <a:r>
              <a:rPr lang="ru-RU" sz="1200" b="0" kern="1200" dirty="0" err="1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т</a:t>
            </a:r>
            <a:endParaRPr lang="en-US" sz="1200" b="0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06375" indent="-206375"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§"/>
              <a:tabLst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цвет линии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 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17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17 </a:t>
            </a:r>
            <a:r>
              <a:rPr lang="en-US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</a:t>
            </a:r>
            <a:r>
              <a:rPr lang="en-US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17</a:t>
            </a:r>
          </a:p>
          <a:p>
            <a:pPr marL="206375" indent="-206375"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§"/>
              <a:tabLst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ливка ячеек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нет</a:t>
            </a:r>
            <a:endParaRPr lang="en-US" sz="1200" b="0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06375" indent="-206375"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§"/>
              <a:tabLst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ыровнять ячейки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по центру</a:t>
            </a:r>
          </a:p>
          <a:p>
            <a:pPr marL="206375" marR="0" lvl="0" indent="-206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ыровнять текст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по левому краю</a:t>
            </a:r>
            <a:endParaRPr lang="en-US" sz="1200" b="0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06375" indent="-206375">
              <a:spcBef>
                <a:spcPts val="0"/>
              </a:spcBef>
              <a:buClr>
                <a:schemeClr val="tx2"/>
              </a:buClr>
              <a:buFont typeface="Wingdings" pitchFamily="2" charset="2"/>
              <a:buChar char="§"/>
              <a:tabLst/>
            </a:pPr>
            <a:r>
              <a:rPr lang="ru-RU" sz="1200" b="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ля: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справа, слева – 0 см</a:t>
            </a:r>
          </a:p>
          <a:p>
            <a:pPr marL="719138" indent="0">
              <a:spcBef>
                <a:spcPts val="0"/>
              </a:spcBef>
              <a:buClr>
                <a:schemeClr val="tx2"/>
              </a:buClr>
              <a:buFont typeface="Wingdings" pitchFamily="2" charset="2"/>
              <a:buNone/>
              <a:tabLst/>
            </a:pP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верху, снизу – 0,15 см</a:t>
            </a:r>
          </a:p>
        </p:txBody>
      </p:sp>
      <p:cxnSp>
        <p:nvCxnSpPr>
          <p:cNvPr id="40" name="Прямая соединительная линия 39">
            <a:extLst>
              <a:ext uri="{FF2B5EF4-FFF2-40B4-BE49-F238E27FC236}">
                <a16:creationId xmlns="" xmlns:a16="http://schemas.microsoft.com/office/drawing/2014/main" id="{A9E21C54-5E1E-B4EE-93F7-B19DEAB68A04}"/>
              </a:ext>
            </a:extLst>
          </p:cNvPr>
          <p:cNvCxnSpPr>
            <a:cxnSpLocks/>
            <a:stCxn id="42" idx="2"/>
          </p:cNvCxnSpPr>
          <p:nvPr userDrawn="1"/>
        </p:nvCxnSpPr>
        <p:spPr>
          <a:xfrm>
            <a:off x="8119330" y="2099452"/>
            <a:ext cx="27389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Закрывающая квадратная скобка 41">
            <a:extLst>
              <a:ext uri="{FF2B5EF4-FFF2-40B4-BE49-F238E27FC236}">
                <a16:creationId xmlns="" xmlns:a16="http://schemas.microsoft.com/office/drawing/2014/main" id="{7FACDFC5-0FCB-20D4-D44D-1DAFC1775D63}"/>
              </a:ext>
            </a:extLst>
          </p:cNvPr>
          <p:cNvSpPr/>
          <p:nvPr userDrawn="1"/>
        </p:nvSpPr>
        <p:spPr>
          <a:xfrm>
            <a:off x="8073611" y="1781175"/>
            <a:ext cx="45719" cy="636554"/>
          </a:xfrm>
          <a:prstGeom prst="rightBracket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6" name="Закрывающая квадратная скобка 45">
            <a:extLst>
              <a:ext uri="{FF2B5EF4-FFF2-40B4-BE49-F238E27FC236}">
                <a16:creationId xmlns="" xmlns:a16="http://schemas.microsoft.com/office/drawing/2014/main" id="{71FB7B1B-EADC-01A4-9425-9EA2E190DD5A}"/>
              </a:ext>
            </a:extLst>
          </p:cNvPr>
          <p:cNvSpPr/>
          <p:nvPr userDrawn="1"/>
        </p:nvSpPr>
        <p:spPr>
          <a:xfrm>
            <a:off x="8073611" y="2498871"/>
            <a:ext cx="45719" cy="3917802"/>
          </a:xfrm>
          <a:prstGeom prst="rightBracket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2" name="Прямая соединительная линия 51">
            <a:extLst>
              <a:ext uri="{FF2B5EF4-FFF2-40B4-BE49-F238E27FC236}">
                <a16:creationId xmlns="" xmlns:a16="http://schemas.microsoft.com/office/drawing/2014/main" id="{207F11E7-68A9-1B4D-146E-5EB26BDDC955}"/>
              </a:ext>
            </a:extLst>
          </p:cNvPr>
          <p:cNvCxnSpPr>
            <a:cxnSpLocks/>
          </p:cNvCxnSpPr>
          <p:nvPr userDrawn="1"/>
        </p:nvCxnSpPr>
        <p:spPr>
          <a:xfrm>
            <a:off x="8119330" y="4457641"/>
            <a:ext cx="27389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>
            <a:extLst>
              <a:ext uri="{FF2B5EF4-FFF2-40B4-BE49-F238E27FC236}">
                <a16:creationId xmlns="" xmlns:a16="http://schemas.microsoft.com/office/drawing/2014/main" id="{3C1D003D-8B0E-39EF-F080-E3A6C0EFA538}"/>
              </a:ext>
            </a:extLst>
          </p:cNvPr>
          <p:cNvGrpSpPr/>
          <p:nvPr userDrawn="1"/>
        </p:nvGrpSpPr>
        <p:grpSpPr>
          <a:xfrm>
            <a:off x="-854110" y="3952874"/>
            <a:ext cx="646618" cy="495300"/>
            <a:chOff x="-40194" y="3949699"/>
            <a:chExt cx="646618" cy="495300"/>
          </a:xfrm>
        </p:grpSpPr>
        <p:sp>
          <p:nvSpPr>
            <p:cNvPr id="3" name="Закрывающая квадратная скобка 2">
              <a:extLst>
                <a:ext uri="{FF2B5EF4-FFF2-40B4-BE49-F238E27FC236}">
                  <a16:creationId xmlns="" xmlns:a16="http://schemas.microsoft.com/office/drawing/2014/main" id="{61D5D909-39D6-03C7-9683-0753F4E3776E}"/>
                </a:ext>
              </a:extLst>
            </p:cNvPr>
            <p:cNvSpPr/>
            <p:nvPr/>
          </p:nvSpPr>
          <p:spPr>
            <a:xfrm rot="10800000">
              <a:off x="557001" y="3949699"/>
              <a:ext cx="49423" cy="495300"/>
            </a:xfrm>
            <a:prstGeom prst="rightBracket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5" name="Прямая соединительная линия 4">
              <a:extLst>
                <a:ext uri="{FF2B5EF4-FFF2-40B4-BE49-F238E27FC236}">
                  <a16:creationId xmlns="" xmlns:a16="http://schemas.microsoft.com/office/drawing/2014/main" id="{20728254-C824-8061-005E-11537969B03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-40194" y="4197349"/>
              <a:ext cx="59719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1" name="Таблица 10">
            <a:extLst>
              <a:ext uri="{FF2B5EF4-FFF2-40B4-BE49-F238E27FC236}">
                <a16:creationId xmlns="" xmlns:a16="http://schemas.microsoft.com/office/drawing/2014/main" id="{B9A3A949-1921-1C49-2628-4D261EED87B1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="" xmlns:p14="http://schemas.microsoft.com/office/powerpoint/2010/main" val="1201712027"/>
              </p:ext>
            </p:extLst>
          </p:nvPr>
        </p:nvGraphicFramePr>
        <p:xfrm>
          <a:off x="874714" y="2049814"/>
          <a:ext cx="6950074" cy="44534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45938">
                  <a:extLst>
                    <a:ext uri="{9D8B030D-6E8A-4147-A177-3AD203B41FA5}">
                      <a16:colId xmlns="" xmlns:a16="http://schemas.microsoft.com/office/drawing/2014/main" val="3517299086"/>
                    </a:ext>
                  </a:extLst>
                </a:gridCol>
                <a:gridCol w="1725105">
                  <a:extLst>
                    <a:ext uri="{9D8B030D-6E8A-4147-A177-3AD203B41FA5}">
                      <a16:colId xmlns="" xmlns:a16="http://schemas.microsoft.com/office/drawing/2014/main" val="1459380637"/>
                    </a:ext>
                  </a:extLst>
                </a:gridCol>
                <a:gridCol w="1762812">
                  <a:extLst>
                    <a:ext uri="{9D8B030D-6E8A-4147-A177-3AD203B41FA5}">
                      <a16:colId xmlns="" xmlns:a16="http://schemas.microsoft.com/office/drawing/2014/main" val="1114155938"/>
                    </a:ext>
                  </a:extLst>
                </a:gridCol>
                <a:gridCol w="1716219">
                  <a:extLst>
                    <a:ext uri="{9D8B030D-6E8A-4147-A177-3AD203B41FA5}">
                      <a16:colId xmlns="" xmlns:a16="http://schemas.microsoft.com/office/drawing/2014/main" val="3539664294"/>
                    </a:ext>
                  </a:extLst>
                </a:gridCol>
              </a:tblGrid>
              <a:tr h="456182">
                <a:tc>
                  <a:txBody>
                    <a:bodyPr/>
                    <a:lstStyle/>
                    <a:p>
                      <a:r>
                        <a:rPr lang="ru-RU" sz="10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ТЕЛЕГРАФНЫЙ КОД</a:t>
                      </a:r>
                    </a:p>
                  </a:txBody>
                  <a:tcPr marL="0" marR="0" marT="54000" marB="54000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ДОРОГА</a:t>
                      </a:r>
                    </a:p>
                  </a:txBody>
                  <a:tcPr marL="0" marR="0" marT="54000" marB="54000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УПРАВЛЕНИЕ</a:t>
                      </a:r>
                    </a:p>
                  </a:txBody>
                  <a:tcPr marL="0" marR="0" marT="54000" marB="54000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ДЛИНА В КМ</a:t>
                      </a:r>
                    </a:p>
                  </a:txBody>
                  <a:tcPr marL="0" marR="0" marT="54000" marB="54000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294841039"/>
                  </a:ext>
                </a:extLst>
              </a:tr>
              <a:tr h="585800">
                <a:tc>
                  <a:txBody>
                    <a:bodyPr/>
                    <a:lstStyle/>
                    <a:p>
                      <a:r>
                        <a:rPr lang="ru-RU" sz="14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КТ</a:t>
                      </a:r>
                      <a:endParaRPr lang="ru-RU" sz="14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ктябрьская</a:t>
                      </a:r>
                      <a:b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железная дорога</a:t>
                      </a:r>
                    </a:p>
                  </a:txBody>
                  <a:tcPr marL="0" marR="0" marT="54000" marB="5400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Санкт-Петербург</a:t>
                      </a:r>
                    </a:p>
                  </a:txBody>
                  <a:tcPr marL="0" marR="0" marT="54000" marB="5400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 378</a:t>
                      </a:r>
                      <a:endParaRPr lang="ru-RU" sz="1100" b="1" kern="1200" spc="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22553894"/>
                  </a:ext>
                </a:extLst>
              </a:tr>
              <a:tr h="463810">
                <a:tc>
                  <a:txBody>
                    <a:bodyPr/>
                    <a:lstStyle/>
                    <a:p>
                      <a:r>
                        <a:rPr lang="ru-RU" sz="14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КЛНГ</a:t>
                      </a:r>
                      <a:endParaRPr lang="ru-RU" sz="14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Калининградская железная дорога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Калининград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60</a:t>
                      </a:r>
                      <a:endParaRPr lang="ru-RU" sz="1100" b="1" kern="1200" spc="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178246322"/>
                  </a:ext>
                </a:extLst>
              </a:tr>
              <a:tr h="4856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МОСК</a:t>
                      </a:r>
                      <a:endParaRPr lang="en-US" sz="1400" b="1" spc="2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Московская</a:t>
                      </a:r>
                      <a:b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железная дорога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Москва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 984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975944881"/>
                  </a:ext>
                </a:extLst>
              </a:tr>
              <a:tr h="4856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ГОРЬК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Горьковская</a:t>
                      </a:r>
                      <a:b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железная дорога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Нижний Новгород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 066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195826101"/>
                  </a:ext>
                </a:extLst>
              </a:tr>
              <a:tr h="485624">
                <a:tc>
                  <a:txBody>
                    <a:bodyPr/>
                    <a:lstStyle/>
                    <a:p>
                      <a:r>
                        <a:rPr lang="ru-RU" sz="1400" b="1" spc="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СЕВ</a:t>
                      </a:r>
                      <a:endParaRPr lang="ru-RU" sz="14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Северная</a:t>
                      </a:r>
                      <a:b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железная дорога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Ярославль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r>
                        <a:rPr lang="en-US" sz="11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ru-RU" sz="11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56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91499893"/>
                  </a:ext>
                </a:extLst>
              </a:tr>
              <a:tr h="485624">
                <a:tc>
                  <a:txBody>
                    <a:bodyPr/>
                    <a:lstStyle/>
                    <a:p>
                      <a:r>
                        <a:rPr lang="en-US" sz="14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-</a:t>
                      </a:r>
                      <a:r>
                        <a:rPr lang="ru-RU" sz="14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КАВ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Северо-Кавказская железная дорога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Ростов</a:t>
                      </a: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-</a:t>
                      </a:r>
                      <a:b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на-Дону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 311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42161073"/>
                  </a:ext>
                </a:extLst>
              </a:tr>
              <a:tr h="519490">
                <a:tc>
                  <a:txBody>
                    <a:bodyPr/>
                    <a:lstStyle/>
                    <a:p>
                      <a:r>
                        <a:rPr lang="ru-RU" sz="14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Ю-ВОСТ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Юго-Восточная</a:t>
                      </a:r>
                      <a:r>
                        <a:rPr lang="en-US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/>
                      </a:r>
                      <a:br>
                        <a:rPr lang="en-US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железная дорога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Воронеж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 189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40428365"/>
                  </a:ext>
                </a:extLst>
              </a:tr>
              <a:tr h="485624">
                <a:tc>
                  <a:txBody>
                    <a:bodyPr/>
                    <a:lstStyle/>
                    <a:p>
                      <a:r>
                        <a:rPr lang="ru-RU" sz="14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РИВ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риволжская</a:t>
                      </a:r>
                      <a:b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железная дорога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Саратов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spc="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 260</a:t>
                      </a:r>
                    </a:p>
                  </a:txBody>
                  <a:tcPr marL="0" marR="0" marT="54000" marB="54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161275319"/>
                  </a:ext>
                </a:extLst>
              </a:tr>
            </a:tbl>
          </a:graphicData>
        </a:graphic>
      </p:graphicFrame>
      <p:sp>
        <p:nvSpPr>
          <p:cNvPr id="12" name="Прямоугольный треугольник 11">
            <a:extLst>
              <a:ext uri="{FF2B5EF4-FFF2-40B4-BE49-F238E27FC236}">
                <a16:creationId xmlns="" xmlns:a16="http://schemas.microsoft.com/office/drawing/2014/main" id="{0710BCA6-08D4-E173-ECD1-07141CDD2EB9}"/>
              </a:ext>
            </a:extLst>
          </p:cNvPr>
          <p:cNvSpPr/>
          <p:nvPr userDrawn="1"/>
        </p:nvSpPr>
        <p:spPr>
          <a:xfrm rot="10800000" flipH="1">
            <a:off x="864080" y="2502792"/>
            <a:ext cx="74613" cy="74613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FD3813C3-8299-CBBE-6D7F-23C3897B64A9}"/>
              </a:ext>
            </a:extLst>
          </p:cNvPr>
          <p:cNvSpPr/>
          <p:nvPr/>
        </p:nvSpPr>
        <p:spPr>
          <a:xfrm>
            <a:off x="-2173024" y="5411125"/>
            <a:ext cx="204228" cy="20422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8A711893-172E-AA13-A6BE-BD9CBB507236}"/>
              </a:ext>
            </a:extLst>
          </p:cNvPr>
          <p:cNvSpPr/>
          <p:nvPr/>
        </p:nvSpPr>
        <p:spPr>
          <a:xfrm>
            <a:off x="-2173024" y="5934746"/>
            <a:ext cx="204228" cy="20422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624FC99C-B456-AEF2-3B9B-6BFA2C675C0B}"/>
              </a:ext>
            </a:extLst>
          </p:cNvPr>
          <p:cNvSpPr/>
          <p:nvPr userDrawn="1"/>
        </p:nvSpPr>
        <p:spPr>
          <a:xfrm>
            <a:off x="-2173024" y="4887504"/>
            <a:ext cx="204228" cy="204228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89505525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формление чис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0AFE035B-F71E-D87A-A15D-BFB2F420D316}"/>
              </a:ext>
            </a:extLst>
          </p:cNvPr>
          <p:cNvSpPr txBox="1"/>
          <p:nvPr userDrawn="1"/>
        </p:nvSpPr>
        <p:spPr>
          <a:xfrm>
            <a:off x="768836" y="312103"/>
            <a:ext cx="9683263" cy="7309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 ОФОРМЛЕНИЕ ЧИСЕЛ</a:t>
            </a:r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="" xmlns:a16="http://schemas.microsoft.com/office/drawing/2014/main" id="{9F99B6A6-9BC4-48EF-4ABC-26AA9A1020BA}"/>
              </a:ext>
            </a:extLst>
          </p:cNvPr>
          <p:cNvCxnSpPr>
            <a:cxnSpLocks/>
          </p:cNvCxnSpPr>
          <p:nvPr userDrawn="1"/>
        </p:nvCxnSpPr>
        <p:spPr>
          <a:xfrm>
            <a:off x="874624" y="5049166"/>
            <a:ext cx="857037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>
            <a:extLst>
              <a:ext uri="{FF2B5EF4-FFF2-40B4-BE49-F238E27FC236}">
                <a16:creationId xmlns="" xmlns:a16="http://schemas.microsoft.com/office/drawing/2014/main" id="{CD696484-5D2C-F38A-3C72-62462B73B94D}"/>
              </a:ext>
            </a:extLst>
          </p:cNvPr>
          <p:cNvCxnSpPr>
            <a:cxnSpLocks/>
          </p:cNvCxnSpPr>
          <p:nvPr userDrawn="1"/>
        </p:nvCxnSpPr>
        <p:spPr>
          <a:xfrm>
            <a:off x="874624" y="4268530"/>
            <a:ext cx="857037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="" xmlns:a16="http://schemas.microsoft.com/office/drawing/2014/main" id="{F1893B0C-7798-9A26-BE8B-97045528A1FF}"/>
              </a:ext>
            </a:extLst>
          </p:cNvPr>
          <p:cNvCxnSpPr>
            <a:cxnSpLocks/>
          </p:cNvCxnSpPr>
          <p:nvPr userDrawn="1"/>
        </p:nvCxnSpPr>
        <p:spPr>
          <a:xfrm>
            <a:off x="874624" y="4658847"/>
            <a:ext cx="857037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>
            <a:extLst>
              <a:ext uri="{FF2B5EF4-FFF2-40B4-BE49-F238E27FC236}">
                <a16:creationId xmlns="" xmlns:a16="http://schemas.microsoft.com/office/drawing/2014/main" id="{16806133-027D-B9E2-1B9B-2675A21C46DF}"/>
              </a:ext>
            </a:extLst>
          </p:cNvPr>
          <p:cNvCxnSpPr>
            <a:cxnSpLocks/>
          </p:cNvCxnSpPr>
          <p:nvPr userDrawn="1"/>
        </p:nvCxnSpPr>
        <p:spPr>
          <a:xfrm>
            <a:off x="874624" y="3677923"/>
            <a:ext cx="857037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>
            <a:extLst>
              <a:ext uri="{FF2B5EF4-FFF2-40B4-BE49-F238E27FC236}">
                <a16:creationId xmlns="" xmlns:a16="http://schemas.microsoft.com/office/drawing/2014/main" id="{11EE1C25-F7D6-6A10-1948-80CDD746BACB}"/>
              </a:ext>
            </a:extLst>
          </p:cNvPr>
          <p:cNvCxnSpPr>
            <a:cxnSpLocks/>
          </p:cNvCxnSpPr>
          <p:nvPr userDrawn="1"/>
        </p:nvCxnSpPr>
        <p:spPr>
          <a:xfrm>
            <a:off x="874624" y="2897288"/>
            <a:ext cx="857037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>
            <a:extLst>
              <a:ext uri="{FF2B5EF4-FFF2-40B4-BE49-F238E27FC236}">
                <a16:creationId xmlns="" xmlns:a16="http://schemas.microsoft.com/office/drawing/2014/main" id="{766E36E7-14A2-6286-9F62-9E4CAB783A14}"/>
              </a:ext>
            </a:extLst>
          </p:cNvPr>
          <p:cNvCxnSpPr>
            <a:cxnSpLocks/>
          </p:cNvCxnSpPr>
          <p:nvPr userDrawn="1"/>
        </p:nvCxnSpPr>
        <p:spPr>
          <a:xfrm>
            <a:off x="874624" y="3287605"/>
            <a:ext cx="857037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>
            <a:extLst>
              <a:ext uri="{FF2B5EF4-FFF2-40B4-BE49-F238E27FC236}">
                <a16:creationId xmlns="" xmlns:a16="http://schemas.microsoft.com/office/drawing/2014/main" id="{A468449B-30B9-7339-3E87-8D63DDEBD658}"/>
              </a:ext>
            </a:extLst>
          </p:cNvPr>
          <p:cNvCxnSpPr>
            <a:cxnSpLocks/>
          </p:cNvCxnSpPr>
          <p:nvPr userDrawn="1"/>
        </p:nvCxnSpPr>
        <p:spPr>
          <a:xfrm>
            <a:off x="890491" y="6428867"/>
            <a:ext cx="857037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="" xmlns:a16="http://schemas.microsoft.com/office/drawing/2014/main" id="{FD8D1D83-665F-2B0D-83AE-9E53383D29B2}"/>
              </a:ext>
            </a:extLst>
          </p:cNvPr>
          <p:cNvCxnSpPr>
            <a:cxnSpLocks/>
          </p:cNvCxnSpPr>
          <p:nvPr userDrawn="1"/>
        </p:nvCxnSpPr>
        <p:spPr>
          <a:xfrm>
            <a:off x="890491" y="5648232"/>
            <a:ext cx="857037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="" xmlns:a16="http://schemas.microsoft.com/office/drawing/2014/main" id="{19DEDDA7-572B-9BF5-F25E-C0BDEF2764F0}"/>
              </a:ext>
            </a:extLst>
          </p:cNvPr>
          <p:cNvCxnSpPr>
            <a:cxnSpLocks/>
          </p:cNvCxnSpPr>
          <p:nvPr userDrawn="1"/>
        </p:nvCxnSpPr>
        <p:spPr>
          <a:xfrm>
            <a:off x="890491" y="6044603"/>
            <a:ext cx="857037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>
            <a:extLst>
              <a:ext uri="{FF2B5EF4-FFF2-40B4-BE49-F238E27FC236}">
                <a16:creationId xmlns="" xmlns:a16="http://schemas.microsoft.com/office/drawing/2014/main" id="{8FFF0F98-D2FD-47B4-540B-89A35D022CAF}"/>
              </a:ext>
            </a:extLst>
          </p:cNvPr>
          <p:cNvCxnSpPr>
            <a:cxnSpLocks/>
          </p:cNvCxnSpPr>
          <p:nvPr userDrawn="1"/>
        </p:nvCxnSpPr>
        <p:spPr>
          <a:xfrm>
            <a:off x="874624" y="2319902"/>
            <a:ext cx="857037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>
            <a:extLst>
              <a:ext uri="{FF2B5EF4-FFF2-40B4-BE49-F238E27FC236}">
                <a16:creationId xmlns="" xmlns:a16="http://schemas.microsoft.com/office/drawing/2014/main" id="{9E9492CF-F4CC-38EB-4757-7653A144B393}"/>
              </a:ext>
            </a:extLst>
          </p:cNvPr>
          <p:cNvCxnSpPr>
            <a:cxnSpLocks/>
          </p:cNvCxnSpPr>
          <p:nvPr userDrawn="1"/>
        </p:nvCxnSpPr>
        <p:spPr>
          <a:xfrm>
            <a:off x="874624" y="1539267"/>
            <a:ext cx="857037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>
            <a:extLst>
              <a:ext uri="{FF2B5EF4-FFF2-40B4-BE49-F238E27FC236}">
                <a16:creationId xmlns="" xmlns:a16="http://schemas.microsoft.com/office/drawing/2014/main" id="{1F67DD1A-1433-60A1-A559-2D71D422E6F5}"/>
              </a:ext>
            </a:extLst>
          </p:cNvPr>
          <p:cNvCxnSpPr>
            <a:cxnSpLocks/>
          </p:cNvCxnSpPr>
          <p:nvPr userDrawn="1"/>
        </p:nvCxnSpPr>
        <p:spPr>
          <a:xfrm>
            <a:off x="874624" y="1929584"/>
            <a:ext cx="857037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="" xmlns:a16="http://schemas.microsoft.com/office/drawing/2014/main" id="{3089121F-47B5-5C67-358B-B5E252807194}"/>
              </a:ext>
            </a:extLst>
          </p:cNvPr>
          <p:cNvSpPr txBox="1"/>
          <p:nvPr userDrawn="1"/>
        </p:nvSpPr>
        <p:spPr>
          <a:xfrm>
            <a:off x="9858824" y="1330304"/>
            <a:ext cx="1894010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Цифры и знаки</a:t>
            </a:r>
            <a:b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ля оформления числовых данных.</a:t>
            </a:r>
          </a:p>
          <a:p>
            <a:pPr>
              <a:spcAft>
                <a:spcPts val="600"/>
              </a:spcAft>
            </a:pPr>
            <a:r>
              <a:rPr lang="ru-RU" sz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е применяются</a:t>
            </a:r>
            <a:br>
              <a:rPr lang="ru-RU" sz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таблицах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ерекрасить цифры можно в «</a:t>
            </a:r>
            <a:r>
              <a:rPr lang="ru-RU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ормате рисунка</a:t>
            </a: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, далее «</a:t>
            </a:r>
            <a:r>
              <a:rPr lang="ru-RU" sz="1200" b="1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Цвет</a:t>
            </a:r>
            <a:r>
              <a:rPr lang="ru-RU" sz="120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».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="" xmlns:a16="http://schemas.microsoft.com/office/drawing/2014/main" id="{AA51D8D4-6346-A3A9-B663-732141D54357}"/>
              </a:ext>
            </a:extLst>
          </p:cNvPr>
          <p:cNvSpPr txBox="1"/>
          <p:nvPr userDrawn="1"/>
        </p:nvSpPr>
        <p:spPr>
          <a:xfrm>
            <a:off x="9858824" y="5042931"/>
            <a:ext cx="189401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0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ысячи отбиваются пробелом </a:t>
            </a:r>
            <a:r>
              <a:rPr lang="ru-RU" sz="1000" b="1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</a:t>
            </a:r>
            <a:r>
              <a:rPr lang="ru-RU" sz="1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</a:t>
            </a:r>
            <a:r>
              <a:rPr lang="ru-RU" sz="10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ru-RU" sz="1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0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пример, 1 миллион будет записан так:</a:t>
            </a:r>
            <a:br>
              <a:rPr lang="ru-RU" sz="10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 000 000</a:t>
            </a:r>
            <a:r>
              <a:rPr lang="ru-RU" sz="10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</a:p>
          <a:p>
            <a:pPr>
              <a:spcAft>
                <a:spcPts val="600"/>
              </a:spcAft>
            </a:pPr>
            <a:r>
              <a:rPr lang="ru-RU" sz="10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Цифры и знаки отбиваются половиной пробела </a:t>
            </a:r>
            <a:r>
              <a:rPr lang="ru-RU" sz="1000" b="1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</a:t>
            </a:r>
            <a:r>
              <a:rPr lang="ru-RU" sz="1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,5а</a:t>
            </a:r>
            <a:r>
              <a:rPr lang="ru-RU" sz="10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ru-RU" sz="1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97" name="Группа 96">
            <a:extLst>
              <a:ext uri="{FF2B5EF4-FFF2-40B4-BE49-F238E27FC236}">
                <a16:creationId xmlns="" xmlns:a16="http://schemas.microsoft.com/office/drawing/2014/main" id="{26390010-EC14-EFE9-A529-586CF09162A5}"/>
              </a:ext>
            </a:extLst>
          </p:cNvPr>
          <p:cNvGrpSpPr/>
          <p:nvPr userDrawn="1"/>
        </p:nvGrpSpPr>
        <p:grpSpPr>
          <a:xfrm>
            <a:off x="9975746" y="3770180"/>
            <a:ext cx="543159" cy="1128219"/>
            <a:chOff x="9975746" y="4490775"/>
            <a:chExt cx="543159" cy="1128219"/>
          </a:xfrm>
        </p:grpSpPr>
        <p:grpSp>
          <p:nvGrpSpPr>
            <p:cNvPr id="98" name="Группа 97">
              <a:extLst>
                <a:ext uri="{FF2B5EF4-FFF2-40B4-BE49-F238E27FC236}">
                  <a16:creationId xmlns="" xmlns:a16="http://schemas.microsoft.com/office/drawing/2014/main" id="{70F99AF8-F68D-EC4E-5C48-D42FA172B303}"/>
                </a:ext>
              </a:extLst>
            </p:cNvPr>
            <p:cNvGrpSpPr/>
            <p:nvPr/>
          </p:nvGrpSpPr>
          <p:grpSpPr>
            <a:xfrm>
              <a:off x="9975746" y="4838368"/>
              <a:ext cx="543159" cy="780626"/>
              <a:chOff x="3665801" y="1547220"/>
              <a:chExt cx="543159" cy="780626"/>
            </a:xfrm>
          </p:grpSpPr>
          <p:sp>
            <p:nvSpPr>
              <p:cNvPr id="102" name="Прямоугольник 101">
                <a:extLst>
                  <a:ext uri="{FF2B5EF4-FFF2-40B4-BE49-F238E27FC236}">
                    <a16:creationId xmlns="" xmlns:a16="http://schemas.microsoft.com/office/drawing/2014/main" id="{57617B1B-7183-970D-D1F7-9C3AA291D2FB}"/>
                  </a:ext>
                </a:extLst>
              </p:cNvPr>
              <p:cNvSpPr/>
              <p:nvPr/>
            </p:nvSpPr>
            <p:spPr>
              <a:xfrm>
                <a:off x="3665801" y="1547220"/>
                <a:ext cx="543159" cy="780626"/>
              </a:xfrm>
              <a:prstGeom prst="rect">
                <a:avLst/>
              </a:prstGeom>
              <a:no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cxnSp>
            <p:nvCxnSpPr>
              <p:cNvPr id="103" name="Прямая соединительная линия 102">
                <a:extLst>
                  <a:ext uri="{FF2B5EF4-FFF2-40B4-BE49-F238E27FC236}">
                    <a16:creationId xmlns="" xmlns:a16="http://schemas.microsoft.com/office/drawing/2014/main" id="{D6EB55CC-778A-D245-A3FD-566ECD603F3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665801" y="1547220"/>
                <a:ext cx="543159" cy="780626"/>
              </a:xfrm>
              <a:prstGeom prst="line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Прямая соединительная линия 103">
                <a:extLst>
                  <a:ext uri="{FF2B5EF4-FFF2-40B4-BE49-F238E27FC236}">
                    <a16:creationId xmlns="" xmlns:a16="http://schemas.microsoft.com/office/drawing/2014/main" id="{7FB1A548-B587-424A-8887-D280D1D067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65801" y="1547220"/>
                <a:ext cx="543159" cy="780626"/>
              </a:xfrm>
              <a:prstGeom prst="line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9" name="Группа 98">
              <a:extLst>
                <a:ext uri="{FF2B5EF4-FFF2-40B4-BE49-F238E27FC236}">
                  <a16:creationId xmlns="" xmlns:a16="http://schemas.microsoft.com/office/drawing/2014/main" id="{AD95F84D-F173-2696-BF60-F39240AA4712}"/>
                </a:ext>
              </a:extLst>
            </p:cNvPr>
            <p:cNvGrpSpPr/>
            <p:nvPr/>
          </p:nvGrpSpPr>
          <p:grpSpPr>
            <a:xfrm>
              <a:off x="9975746" y="4490775"/>
              <a:ext cx="543159" cy="276999"/>
              <a:chOff x="9975746" y="4490775"/>
              <a:chExt cx="543159" cy="276999"/>
            </a:xfrm>
          </p:grpSpPr>
          <p:cxnSp>
            <p:nvCxnSpPr>
              <p:cNvPr id="100" name="Прямая соединительная линия 99">
                <a:extLst>
                  <a:ext uri="{FF2B5EF4-FFF2-40B4-BE49-F238E27FC236}">
                    <a16:creationId xmlns="" xmlns:a16="http://schemas.microsoft.com/office/drawing/2014/main" id="{E70EBE21-B30D-CB8E-8E60-956E3A0EC44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9975746" y="4753672"/>
                <a:ext cx="543159" cy="0"/>
              </a:xfrm>
              <a:prstGeom prst="line">
                <a:avLst/>
              </a:prstGeom>
              <a:ln w="12700"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1" name="TextBox 100">
                <a:extLst>
                  <a:ext uri="{FF2B5EF4-FFF2-40B4-BE49-F238E27FC236}">
                    <a16:creationId xmlns="" xmlns:a16="http://schemas.microsoft.com/office/drawing/2014/main" id="{9A5672BB-1D60-C1A6-C0CA-1B4CCC78749A}"/>
                  </a:ext>
                </a:extLst>
              </p:cNvPr>
              <p:cNvSpPr txBox="1"/>
              <p:nvPr/>
            </p:nvSpPr>
            <p:spPr>
              <a:xfrm>
                <a:off x="10112512" y="4490775"/>
                <a:ext cx="277640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200" dirty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а</a:t>
                </a:r>
              </a:p>
            </p:txBody>
          </p:sp>
        </p:grpSp>
      </p:grpSp>
      <p:grpSp>
        <p:nvGrpSpPr>
          <p:cNvPr id="105" name="Группа 104">
            <a:extLst>
              <a:ext uri="{FF2B5EF4-FFF2-40B4-BE49-F238E27FC236}">
                <a16:creationId xmlns="" xmlns:a16="http://schemas.microsoft.com/office/drawing/2014/main" id="{3526D9C1-D04A-8A97-DA6A-DF7E95B437BE}"/>
              </a:ext>
            </a:extLst>
          </p:cNvPr>
          <p:cNvGrpSpPr/>
          <p:nvPr userDrawn="1"/>
        </p:nvGrpSpPr>
        <p:grpSpPr>
          <a:xfrm>
            <a:off x="10751353" y="3770180"/>
            <a:ext cx="529312" cy="1128219"/>
            <a:chOff x="10647867" y="2653961"/>
            <a:chExt cx="529312" cy="1128219"/>
          </a:xfrm>
        </p:grpSpPr>
        <p:grpSp>
          <p:nvGrpSpPr>
            <p:cNvPr id="106" name="Группа 105">
              <a:extLst>
                <a:ext uri="{FF2B5EF4-FFF2-40B4-BE49-F238E27FC236}">
                  <a16:creationId xmlns="" xmlns:a16="http://schemas.microsoft.com/office/drawing/2014/main" id="{B544AFFB-EF67-82A6-0A97-90D562172554}"/>
                </a:ext>
              </a:extLst>
            </p:cNvPr>
            <p:cNvGrpSpPr/>
            <p:nvPr/>
          </p:nvGrpSpPr>
          <p:grpSpPr>
            <a:xfrm>
              <a:off x="10765099" y="3001554"/>
              <a:ext cx="269627" cy="780626"/>
              <a:chOff x="3665801" y="1547220"/>
              <a:chExt cx="543159" cy="780626"/>
            </a:xfrm>
          </p:grpSpPr>
          <p:sp>
            <p:nvSpPr>
              <p:cNvPr id="109" name="Прямоугольник 108">
                <a:extLst>
                  <a:ext uri="{FF2B5EF4-FFF2-40B4-BE49-F238E27FC236}">
                    <a16:creationId xmlns="" xmlns:a16="http://schemas.microsoft.com/office/drawing/2014/main" id="{AF7C3560-60F8-99BF-DBAE-B1AFC8D90BB0}"/>
                  </a:ext>
                </a:extLst>
              </p:cNvPr>
              <p:cNvSpPr/>
              <p:nvPr/>
            </p:nvSpPr>
            <p:spPr>
              <a:xfrm>
                <a:off x="3665801" y="1547220"/>
                <a:ext cx="543159" cy="780626"/>
              </a:xfrm>
              <a:prstGeom prst="rect">
                <a:avLst/>
              </a:prstGeom>
              <a:no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cxnSp>
            <p:nvCxnSpPr>
              <p:cNvPr id="110" name="Прямая соединительная линия 109">
                <a:extLst>
                  <a:ext uri="{FF2B5EF4-FFF2-40B4-BE49-F238E27FC236}">
                    <a16:creationId xmlns="" xmlns:a16="http://schemas.microsoft.com/office/drawing/2014/main" id="{AB0CABD6-AF0C-EEE9-EE64-7A699D65197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665801" y="1547220"/>
                <a:ext cx="543159" cy="780626"/>
              </a:xfrm>
              <a:prstGeom prst="line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Прямая соединительная линия 110">
                <a:extLst>
                  <a:ext uri="{FF2B5EF4-FFF2-40B4-BE49-F238E27FC236}">
                    <a16:creationId xmlns="" xmlns:a16="http://schemas.microsoft.com/office/drawing/2014/main" id="{E95D8CB3-43F9-39BD-81EC-3D717444424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65801" y="1547220"/>
                <a:ext cx="543159" cy="780626"/>
              </a:xfrm>
              <a:prstGeom prst="line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07" name="Прямая соединительная линия 106">
              <a:extLst>
                <a:ext uri="{FF2B5EF4-FFF2-40B4-BE49-F238E27FC236}">
                  <a16:creationId xmlns="" xmlns:a16="http://schemas.microsoft.com/office/drawing/2014/main" id="{8D556E90-4056-D3BF-F380-059F4B8FBA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765099" y="2916858"/>
              <a:ext cx="269627" cy="0"/>
            </a:xfrm>
            <a:prstGeom prst="line">
              <a:avLst/>
            </a:prstGeom>
            <a:ln w="1270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TextBox 107">
              <a:extLst>
                <a:ext uri="{FF2B5EF4-FFF2-40B4-BE49-F238E27FC236}">
                  <a16:creationId xmlns="" xmlns:a16="http://schemas.microsoft.com/office/drawing/2014/main" id="{6377DD86-B4DD-238C-0BBA-26654B92068A}"/>
                </a:ext>
              </a:extLst>
            </p:cNvPr>
            <p:cNvSpPr txBox="1"/>
            <p:nvPr/>
          </p:nvSpPr>
          <p:spPr>
            <a:xfrm>
              <a:off x="10647867" y="2653961"/>
              <a:ext cx="52931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0</a:t>
              </a:r>
              <a:r>
                <a:rPr lang="en-US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,5</a:t>
              </a:r>
              <a:r>
                <a:rPr lang="ru-RU" sz="12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а</a:t>
              </a:r>
            </a:p>
          </p:txBody>
        </p:sp>
      </p:grpSp>
      <p:cxnSp>
        <p:nvCxnSpPr>
          <p:cNvPr id="117" name="Прямая соединительная линия 116">
            <a:extLst>
              <a:ext uri="{FF2B5EF4-FFF2-40B4-BE49-F238E27FC236}">
                <a16:creationId xmlns="" xmlns:a16="http://schemas.microsoft.com/office/drawing/2014/main" id="{E2055507-5583-2701-ED89-7AE111147E8A}"/>
              </a:ext>
            </a:extLst>
          </p:cNvPr>
          <p:cNvCxnSpPr>
            <a:cxnSpLocks/>
          </p:cNvCxnSpPr>
          <p:nvPr userDrawn="1"/>
        </p:nvCxnSpPr>
        <p:spPr>
          <a:xfrm>
            <a:off x="9965113" y="3504349"/>
            <a:ext cx="1787721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>
            <a:extLst>
              <a:ext uri="{FF2B5EF4-FFF2-40B4-BE49-F238E27FC236}">
                <a16:creationId xmlns="" xmlns:a16="http://schemas.microsoft.com/office/drawing/2014/main" id="{A46D6B46-339D-12E4-F280-02DE5A68667D}"/>
              </a:ext>
            </a:extLst>
          </p:cNvPr>
          <p:cNvCxnSpPr>
            <a:cxnSpLocks/>
          </p:cNvCxnSpPr>
          <p:nvPr userDrawn="1"/>
        </p:nvCxnSpPr>
        <p:spPr>
          <a:xfrm flipH="1">
            <a:off x="9569962" y="3101093"/>
            <a:ext cx="3301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069455706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93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етал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4E1ECB75-E8CC-63FC-7991-C8FF8691F0F4}"/>
              </a:ext>
            </a:extLst>
          </p:cNvPr>
          <p:cNvSpPr txBox="1"/>
          <p:nvPr userDrawn="1"/>
        </p:nvSpPr>
        <p:spPr>
          <a:xfrm>
            <a:off x="768837" y="312103"/>
            <a:ext cx="2985113" cy="7309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 ДЕТАЛИ</a:t>
            </a:r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="" xmlns:a16="http://schemas.microsoft.com/office/drawing/2014/main" id="{F80DFCB4-FE89-465F-5CBB-DB74D51E2B79}"/>
              </a:ext>
            </a:extLst>
          </p:cNvPr>
          <p:cNvCxnSpPr>
            <a:cxnSpLocks/>
          </p:cNvCxnSpPr>
          <p:nvPr userDrawn="1"/>
        </p:nvCxnSpPr>
        <p:spPr>
          <a:xfrm flipV="1">
            <a:off x="11589750" y="4704347"/>
            <a:ext cx="0" cy="1134221"/>
          </a:xfrm>
          <a:prstGeom prst="line">
            <a:avLst/>
          </a:prstGeom>
          <a:ln w="12700">
            <a:solidFill>
              <a:schemeClr val="tx1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D4C08E90-1131-B0C4-03EA-84317E547B04}"/>
              </a:ext>
            </a:extLst>
          </p:cNvPr>
          <p:cNvSpPr txBox="1"/>
          <p:nvPr userDrawn="1"/>
        </p:nvSpPr>
        <p:spPr>
          <a:xfrm>
            <a:off x="9107905" y="4643558"/>
            <a:ext cx="2398397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spcBef>
                <a:spcPts val="1400"/>
              </a:spcBef>
              <a:spcAft>
                <a:spcPts val="600"/>
              </a:spcAft>
            </a:pPr>
            <a:r>
              <a:rPr lang="ru-RU" sz="14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МЕР СЛАЙДА</a:t>
            </a:r>
            <a:r>
              <a:rPr lang="ru-RU" sz="1400" b="0" kern="1200" spc="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ru-RU" sz="1400" b="0" kern="1200" spc="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сли необходимо пронумеровать слайды, скопируйте номер на этом (</a:t>
            </a:r>
            <a:r>
              <a:rPr lang="en-US" sz="1200" b="1" kern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TRL+C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</a:t>
            </a:r>
            <a:r>
              <a:rPr lang="ru-RU" sz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вставьте</a:t>
            </a:r>
            <a:br>
              <a:rPr lang="ru-RU" sz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 другие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</a:t>
            </a: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TRL+V</a:t>
            </a: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r>
              <a:rPr lang="ru-RU" sz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endParaRPr lang="ru-RU" sz="1200" b="0" kern="1200" dirty="0"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2B2AE2E6-EFA3-C294-81FE-F2058D9FCB31}"/>
              </a:ext>
            </a:extLst>
          </p:cNvPr>
          <p:cNvSpPr txBox="1"/>
          <p:nvPr userDrawn="1"/>
        </p:nvSpPr>
        <p:spPr>
          <a:xfrm>
            <a:off x="768837" y="1530090"/>
            <a:ext cx="3803164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ts val="1400"/>
              </a:spcBef>
              <a:spcAft>
                <a:spcPts val="600"/>
              </a:spcAft>
            </a:pPr>
            <a:r>
              <a:rPr lang="ru-RU" sz="1400" b="1" spc="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КОНКИ ПРИЛОЖЕНИЙ</a:t>
            </a:r>
            <a:r>
              <a:rPr lang="ru-RU" sz="1400" b="0" kern="1200" spc="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ru-RU" sz="1400" b="0" kern="1200" spc="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200" b="0" kern="1200" dirty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пользуйте только цветные либо только черно-белые иконки на одном слайде</a:t>
            </a:r>
          </a:p>
        </p:txBody>
      </p:sp>
    </p:spTree>
    <p:extLst>
      <p:ext uri="{BB962C8B-B14F-4D97-AF65-F5344CB8AC3E}">
        <p14:creationId xmlns="" xmlns:p14="http://schemas.microsoft.com/office/powerpoint/2010/main" val="3101112930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Возможности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297A2748-BFAE-4A7D-85BF-3035851C1FEC}"/>
              </a:ext>
            </a:extLst>
          </p:cNvPr>
          <p:cNvSpPr txBox="1"/>
          <p:nvPr userDrawn="1"/>
        </p:nvSpPr>
        <p:spPr>
          <a:xfrm>
            <a:off x="9730740" y="6261702"/>
            <a:ext cx="9448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54A469B-8E6C-468C-BA23-20DE9E586CB9}" type="slidenum">
              <a:rPr lang="en-US" sz="1200" smtClean="0">
                <a:latin typeface="Verdana" panose="020B0604030504040204" pitchFamily="34" charset="0"/>
                <a:ea typeface="Verdana" panose="020B0604030504040204" pitchFamily="34" charset="0"/>
              </a:rPr>
              <a:pPr algn="r"/>
              <a:t>‹#›</a:t>
            </a:fld>
            <a:endParaRPr lang="ru-RU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992442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Офис) 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Группа 23">
            <a:extLst>
              <a:ext uri="{FF2B5EF4-FFF2-40B4-BE49-F238E27FC236}">
                <a16:creationId xmlns="" xmlns:a16="http://schemas.microsoft.com/office/drawing/2014/main" id="{D9569C36-FEFF-A131-A5F2-1825AF07B96D}"/>
              </a:ext>
            </a:extLst>
          </p:cNvPr>
          <p:cNvGrpSpPr/>
          <p:nvPr userDrawn="1"/>
        </p:nvGrpSpPr>
        <p:grpSpPr>
          <a:xfrm>
            <a:off x="0" y="1376362"/>
            <a:ext cx="12479070" cy="3672171"/>
            <a:chOff x="28575" y="1376362"/>
            <a:chExt cx="12479070" cy="3672171"/>
          </a:xfrm>
          <a:solidFill>
            <a:srgbClr val="0AB773"/>
          </a:solidFill>
        </p:grpSpPr>
        <p:sp>
          <p:nvSpPr>
            <p:cNvPr id="25" name="Прямоугольник 2">
              <a:extLst>
                <a:ext uri="{FF2B5EF4-FFF2-40B4-BE49-F238E27FC236}">
                  <a16:creationId xmlns="" xmlns:a16="http://schemas.microsoft.com/office/drawing/2014/main" id="{9D257D26-21C6-F487-3230-AC2E6D8E56E9}"/>
                </a:ext>
              </a:extLst>
            </p:cNvPr>
            <p:cNvSpPr/>
            <p:nvPr userDrawn="1"/>
          </p:nvSpPr>
          <p:spPr>
            <a:xfrm>
              <a:off x="28575" y="1376363"/>
              <a:ext cx="10149541" cy="3672170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9541" h="3672170">
                  <a:moveTo>
                    <a:pt x="0" y="0"/>
                  </a:moveTo>
                  <a:lnTo>
                    <a:pt x="10149541" y="3175"/>
                  </a:lnTo>
                  <a:lnTo>
                    <a:pt x="7395135" y="3667501"/>
                  </a:lnTo>
                  <a:lnTo>
                    <a:pt x="0" y="367217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6" name="Прямоугольник 2">
              <a:extLst>
                <a:ext uri="{FF2B5EF4-FFF2-40B4-BE49-F238E27FC236}">
                  <a16:creationId xmlns="" xmlns:a16="http://schemas.microsoft.com/office/drawing/2014/main" id="{FD22B20D-F0B5-29A0-92DB-58696EE5A65F}"/>
                </a:ext>
              </a:extLst>
            </p:cNvPr>
            <p:cNvSpPr/>
            <p:nvPr userDrawn="1"/>
          </p:nvSpPr>
          <p:spPr>
            <a:xfrm>
              <a:off x="9588944" y="1377427"/>
              <a:ext cx="1299451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7585" h="3659521">
                  <a:moveTo>
                    <a:pt x="2728586" y="6299"/>
                  </a:moveTo>
                  <a:lnTo>
                    <a:pt x="3877585" y="0"/>
                  </a:lnTo>
                  <a:lnTo>
                    <a:pt x="1123178" y="3654851"/>
                  </a:lnTo>
                  <a:lnTo>
                    <a:pt x="0" y="3659521"/>
                  </a:lnTo>
                  <a:lnTo>
                    <a:pt x="2728586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7" name="Прямоугольник 2">
              <a:extLst>
                <a:ext uri="{FF2B5EF4-FFF2-40B4-BE49-F238E27FC236}">
                  <a16:creationId xmlns="" xmlns:a16="http://schemas.microsoft.com/office/drawing/2014/main" id="{44C1E0F4-A4C9-5345-7544-C7FA0E3E7A14}"/>
                </a:ext>
              </a:extLst>
            </p:cNvPr>
            <p:cNvSpPr/>
            <p:nvPr userDrawn="1"/>
          </p:nvSpPr>
          <p:spPr>
            <a:xfrm>
              <a:off x="10287445" y="1377427"/>
              <a:ext cx="1232776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8626" h="3659521">
                  <a:moveTo>
                    <a:pt x="2747535" y="6299"/>
                  </a:moveTo>
                  <a:lnTo>
                    <a:pt x="3678626" y="0"/>
                  </a:lnTo>
                  <a:lnTo>
                    <a:pt x="952642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8" name="Прямоугольник 2">
              <a:extLst>
                <a:ext uri="{FF2B5EF4-FFF2-40B4-BE49-F238E27FC236}">
                  <a16:creationId xmlns="" xmlns:a16="http://schemas.microsoft.com/office/drawing/2014/main" id="{56641D1E-7BDE-C789-03DE-B8F91B092963}"/>
                </a:ext>
              </a:extLst>
            </p:cNvPr>
            <p:cNvSpPr/>
            <p:nvPr userDrawn="1"/>
          </p:nvSpPr>
          <p:spPr>
            <a:xfrm>
              <a:off x="10906570" y="1377427"/>
              <a:ext cx="1175626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8090" h="3659521">
                  <a:moveTo>
                    <a:pt x="2747535" y="6299"/>
                  </a:moveTo>
                  <a:lnTo>
                    <a:pt x="3508090" y="0"/>
                  </a:lnTo>
                  <a:lnTo>
                    <a:pt x="782106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9" name="Прямоугольник 2">
              <a:extLst>
                <a:ext uri="{FF2B5EF4-FFF2-40B4-BE49-F238E27FC236}">
                  <a16:creationId xmlns="" xmlns:a16="http://schemas.microsoft.com/office/drawing/2014/main" id="{3271C203-A6DD-B001-2B39-0672A0C0D4E5}"/>
                </a:ext>
              </a:extLst>
            </p:cNvPr>
            <p:cNvSpPr/>
            <p:nvPr userDrawn="1"/>
          </p:nvSpPr>
          <p:spPr>
            <a:xfrm>
              <a:off x="11500294" y="1376362"/>
              <a:ext cx="1007351" cy="1225873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  <a:gd name="connsiteX0" fmla="*/ 2103285 w 2863840"/>
                <a:gd name="connsiteY0" fmla="*/ 6299 h 3654851"/>
                <a:gd name="connsiteX1" fmla="*/ 2863840 w 2863840"/>
                <a:gd name="connsiteY1" fmla="*/ 0 h 3654851"/>
                <a:gd name="connsiteX2" fmla="*/ 137856 w 2863840"/>
                <a:gd name="connsiteY2" fmla="*/ 3654851 h 3654851"/>
                <a:gd name="connsiteX3" fmla="*/ 0 w 2863840"/>
                <a:gd name="connsiteY3" fmla="*/ 3536356 h 3654851"/>
                <a:gd name="connsiteX4" fmla="*/ 2103285 w 2863840"/>
                <a:gd name="connsiteY4" fmla="*/ 6299 h 3654851"/>
                <a:gd name="connsiteX0" fmla="*/ 2216976 w 2977531"/>
                <a:gd name="connsiteY0" fmla="*/ 6299 h 3654851"/>
                <a:gd name="connsiteX1" fmla="*/ 2977531 w 2977531"/>
                <a:gd name="connsiteY1" fmla="*/ 0 h 3654851"/>
                <a:gd name="connsiteX2" fmla="*/ 251547 w 2977531"/>
                <a:gd name="connsiteY2" fmla="*/ 3654851 h 3654851"/>
                <a:gd name="connsiteX3" fmla="*/ 0 w 2977531"/>
                <a:gd name="connsiteY3" fmla="*/ 3631098 h 3654851"/>
                <a:gd name="connsiteX4" fmla="*/ 2216976 w 2977531"/>
                <a:gd name="connsiteY4" fmla="*/ 6299 h 3654851"/>
                <a:gd name="connsiteX0" fmla="*/ 2008542 w 2769097"/>
                <a:gd name="connsiteY0" fmla="*/ 6299 h 3654851"/>
                <a:gd name="connsiteX1" fmla="*/ 2769097 w 2769097"/>
                <a:gd name="connsiteY1" fmla="*/ 0 h 3654851"/>
                <a:gd name="connsiteX2" fmla="*/ 43113 w 2769097"/>
                <a:gd name="connsiteY2" fmla="*/ 3654851 h 3654851"/>
                <a:gd name="connsiteX3" fmla="*/ 0 w 2769097"/>
                <a:gd name="connsiteY3" fmla="*/ 3242654 h 3654851"/>
                <a:gd name="connsiteX4" fmla="*/ 2008542 w 2769097"/>
                <a:gd name="connsiteY4" fmla="*/ 6299 h 3654851"/>
                <a:gd name="connsiteX0" fmla="*/ 2245398 w 3005953"/>
                <a:gd name="connsiteY0" fmla="*/ 6299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245398 w 3005953"/>
                <a:gd name="connsiteY4" fmla="*/ 6299 h 3654851"/>
                <a:gd name="connsiteX0" fmla="*/ 2633843 w 3005953"/>
                <a:gd name="connsiteY0" fmla="*/ 15774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633843 w 3005953"/>
                <a:gd name="connsiteY4" fmla="*/ 15774 h 3654851"/>
                <a:gd name="connsiteX0" fmla="*/ 2794905 w 3005953"/>
                <a:gd name="connsiteY0" fmla="*/ 25248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794905 w 3005953"/>
                <a:gd name="connsiteY4" fmla="*/ 25248 h 3654851"/>
                <a:gd name="connsiteX0" fmla="*/ 2757008 w 3005953"/>
                <a:gd name="connsiteY0" fmla="*/ 0 h 3658026"/>
                <a:gd name="connsiteX1" fmla="*/ 3005953 w 3005953"/>
                <a:gd name="connsiteY1" fmla="*/ 3175 h 3658026"/>
                <a:gd name="connsiteX2" fmla="*/ 279969 w 3005953"/>
                <a:gd name="connsiteY2" fmla="*/ 3658026 h 3658026"/>
                <a:gd name="connsiteX3" fmla="*/ 0 w 3005953"/>
                <a:gd name="connsiteY3" fmla="*/ 3653222 h 3658026"/>
                <a:gd name="connsiteX4" fmla="*/ 2757008 w 3005953"/>
                <a:gd name="connsiteY4" fmla="*/ 0 h 3658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5953" h="3658026">
                  <a:moveTo>
                    <a:pt x="2757008" y="0"/>
                  </a:moveTo>
                  <a:lnTo>
                    <a:pt x="3005953" y="3175"/>
                  </a:lnTo>
                  <a:lnTo>
                    <a:pt x="279969" y="3658026"/>
                  </a:lnTo>
                  <a:lnTo>
                    <a:pt x="0" y="3653222"/>
                  </a:lnTo>
                  <a:lnTo>
                    <a:pt x="2757008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30" name="Заголовок 1">
            <a:extLst>
              <a:ext uri="{FF2B5EF4-FFF2-40B4-BE49-F238E27FC236}">
                <a16:creationId xmlns="" xmlns:a16="http://schemas.microsoft.com/office/drawing/2014/main" id="{A318726A-8E74-B200-1476-C13B597125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74713" y="1818288"/>
            <a:ext cx="7813675" cy="2785241"/>
          </a:xfrm>
        </p:spPr>
        <p:txBody>
          <a:bodyPr anchor="t">
            <a:normAutofit/>
          </a:bodyPr>
          <a:lstStyle>
            <a:lvl1pPr algn="l">
              <a:defRPr sz="4800">
                <a:ln w="15875">
                  <a:solidFill>
                    <a:schemeClr val="bg1"/>
                  </a:solidFill>
                </a:ln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/ ЗАГОЛОВОК ЗАГЛАВНЫМИ</a:t>
            </a:r>
            <a:br>
              <a:rPr lang="ru-RU" dirty="0"/>
            </a:br>
            <a:r>
              <a:rPr lang="ru-RU" dirty="0"/>
              <a:t>БУКВАМИ МАКСИМУМ</a:t>
            </a:r>
            <a:br>
              <a:rPr lang="ru-RU" dirty="0"/>
            </a:br>
            <a:r>
              <a:rPr lang="ru-RU" dirty="0"/>
              <a:t>4 СТРОКИ</a:t>
            </a:r>
          </a:p>
        </p:txBody>
      </p:sp>
      <p:sp>
        <p:nvSpPr>
          <p:cNvPr id="31" name="Подзаголовок 2">
            <a:extLst>
              <a:ext uri="{FF2B5EF4-FFF2-40B4-BE49-F238E27FC236}">
                <a16:creationId xmlns="" xmlns:a16="http://schemas.microsoft.com/office/drawing/2014/main" id="{826FC6F6-2BD3-9733-0A66-E7DF60D2BE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74713" y="5277997"/>
            <a:ext cx="7813675" cy="706878"/>
          </a:xfrm>
        </p:spPr>
        <p:txBody>
          <a:bodyPr/>
          <a:lstStyle>
            <a:lvl1pPr marL="0" indent="0" algn="l">
              <a:buNone/>
              <a:defRPr sz="24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="" xmlns:a16="http://schemas.microsoft.com/office/drawing/2014/main" id="{88AF0DA2-1FEA-CAFE-10B3-B4190F5217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5613" y="5461864"/>
            <a:ext cx="2403475" cy="523011"/>
          </a:xfrm>
          <a:prstGeom prst="rect">
            <a:avLst/>
          </a:prstGeom>
        </p:spPr>
      </p:pic>
      <p:grpSp>
        <p:nvGrpSpPr>
          <p:cNvPr id="33" name="Группа 32">
            <a:extLst>
              <a:ext uri="{FF2B5EF4-FFF2-40B4-BE49-F238E27FC236}">
                <a16:creationId xmlns="" xmlns:a16="http://schemas.microsoft.com/office/drawing/2014/main" id="{68A18165-BE72-4FD5-2A71-FB67735FE4B6}"/>
              </a:ext>
            </a:extLst>
          </p:cNvPr>
          <p:cNvGrpSpPr/>
          <p:nvPr userDrawn="1"/>
        </p:nvGrpSpPr>
        <p:grpSpPr>
          <a:xfrm>
            <a:off x="874713" y="551990"/>
            <a:ext cx="45719" cy="272382"/>
            <a:chOff x="1046163" y="441325"/>
            <a:chExt cx="45719" cy="272382"/>
          </a:xfrm>
          <a:solidFill>
            <a:schemeClr val="tx1"/>
          </a:solidFill>
        </p:grpSpPr>
        <p:sp>
          <p:nvSpPr>
            <p:cNvPr id="34" name="Прямоугольник 33">
              <a:extLst>
                <a:ext uri="{FF2B5EF4-FFF2-40B4-BE49-F238E27FC236}">
                  <a16:creationId xmlns="" xmlns:a16="http://schemas.microsoft.com/office/drawing/2014/main" id="{375E487D-94AB-3DD8-7C09-8CF638685866}"/>
                </a:ext>
              </a:extLst>
            </p:cNvPr>
            <p:cNvSpPr/>
            <p:nvPr userDrawn="1"/>
          </p:nvSpPr>
          <p:spPr>
            <a:xfrm>
              <a:off x="1046163" y="441325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="" xmlns:a16="http://schemas.microsoft.com/office/drawing/2014/main" id="{022D7316-D76A-A49F-E25C-1EB74CE33676}"/>
                </a:ext>
              </a:extLst>
            </p:cNvPr>
            <p:cNvSpPr/>
            <p:nvPr userDrawn="1"/>
          </p:nvSpPr>
          <p:spPr>
            <a:xfrm>
              <a:off x="1046163" y="554657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="" xmlns:a16="http://schemas.microsoft.com/office/drawing/2014/main" id="{0F8BF6AD-6CDE-7187-C73C-DF00F78528B3}"/>
                </a:ext>
              </a:extLst>
            </p:cNvPr>
            <p:cNvSpPr/>
            <p:nvPr userDrawn="1"/>
          </p:nvSpPr>
          <p:spPr>
            <a:xfrm>
              <a:off x="1046163" y="667988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29258221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7" orient="horz" pos="550" userDrawn="1">
          <p15:clr>
            <a:srgbClr val="A4A3A4"/>
          </p15:clr>
        </p15:guide>
        <p15:guide id="18" orient="horz" pos="3770" userDrawn="1">
          <p15:clr>
            <a:srgbClr val="A4A3A4"/>
          </p15:clr>
        </p15:guide>
        <p15:guide id="19" orient="horz" pos="4042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ИТ) 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Группа 23">
            <a:extLst>
              <a:ext uri="{FF2B5EF4-FFF2-40B4-BE49-F238E27FC236}">
                <a16:creationId xmlns="" xmlns:a16="http://schemas.microsoft.com/office/drawing/2014/main" id="{D9569C36-FEFF-A131-A5F2-1825AF07B96D}"/>
              </a:ext>
            </a:extLst>
          </p:cNvPr>
          <p:cNvGrpSpPr/>
          <p:nvPr userDrawn="1"/>
        </p:nvGrpSpPr>
        <p:grpSpPr>
          <a:xfrm>
            <a:off x="0" y="1376362"/>
            <a:ext cx="12479070" cy="3672171"/>
            <a:chOff x="28575" y="1376362"/>
            <a:chExt cx="12479070" cy="3672171"/>
          </a:xfrm>
          <a:solidFill>
            <a:srgbClr val="9B3DC3"/>
          </a:solidFill>
        </p:grpSpPr>
        <p:sp>
          <p:nvSpPr>
            <p:cNvPr id="25" name="Прямоугольник 2">
              <a:extLst>
                <a:ext uri="{FF2B5EF4-FFF2-40B4-BE49-F238E27FC236}">
                  <a16:creationId xmlns="" xmlns:a16="http://schemas.microsoft.com/office/drawing/2014/main" id="{9D257D26-21C6-F487-3230-AC2E6D8E56E9}"/>
                </a:ext>
              </a:extLst>
            </p:cNvPr>
            <p:cNvSpPr/>
            <p:nvPr userDrawn="1"/>
          </p:nvSpPr>
          <p:spPr>
            <a:xfrm>
              <a:off x="28575" y="1376363"/>
              <a:ext cx="10149541" cy="3672170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9541" h="3672170">
                  <a:moveTo>
                    <a:pt x="0" y="0"/>
                  </a:moveTo>
                  <a:lnTo>
                    <a:pt x="10149541" y="3175"/>
                  </a:lnTo>
                  <a:lnTo>
                    <a:pt x="7395135" y="3667501"/>
                  </a:lnTo>
                  <a:lnTo>
                    <a:pt x="0" y="367217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6" name="Прямоугольник 2">
              <a:extLst>
                <a:ext uri="{FF2B5EF4-FFF2-40B4-BE49-F238E27FC236}">
                  <a16:creationId xmlns="" xmlns:a16="http://schemas.microsoft.com/office/drawing/2014/main" id="{FD22B20D-F0B5-29A0-92DB-58696EE5A65F}"/>
                </a:ext>
              </a:extLst>
            </p:cNvPr>
            <p:cNvSpPr/>
            <p:nvPr userDrawn="1"/>
          </p:nvSpPr>
          <p:spPr>
            <a:xfrm>
              <a:off x="9588944" y="1377427"/>
              <a:ext cx="1299451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7585" h="3659521">
                  <a:moveTo>
                    <a:pt x="2728586" y="6299"/>
                  </a:moveTo>
                  <a:lnTo>
                    <a:pt x="3877585" y="0"/>
                  </a:lnTo>
                  <a:lnTo>
                    <a:pt x="1123178" y="3654851"/>
                  </a:lnTo>
                  <a:lnTo>
                    <a:pt x="0" y="3659521"/>
                  </a:lnTo>
                  <a:lnTo>
                    <a:pt x="2728586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7" name="Прямоугольник 2">
              <a:extLst>
                <a:ext uri="{FF2B5EF4-FFF2-40B4-BE49-F238E27FC236}">
                  <a16:creationId xmlns="" xmlns:a16="http://schemas.microsoft.com/office/drawing/2014/main" id="{44C1E0F4-A4C9-5345-7544-C7FA0E3E7A14}"/>
                </a:ext>
              </a:extLst>
            </p:cNvPr>
            <p:cNvSpPr/>
            <p:nvPr userDrawn="1"/>
          </p:nvSpPr>
          <p:spPr>
            <a:xfrm>
              <a:off x="10287445" y="1377427"/>
              <a:ext cx="1232776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8626" h="3659521">
                  <a:moveTo>
                    <a:pt x="2747535" y="6299"/>
                  </a:moveTo>
                  <a:lnTo>
                    <a:pt x="3678626" y="0"/>
                  </a:lnTo>
                  <a:lnTo>
                    <a:pt x="952642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8" name="Прямоугольник 2">
              <a:extLst>
                <a:ext uri="{FF2B5EF4-FFF2-40B4-BE49-F238E27FC236}">
                  <a16:creationId xmlns="" xmlns:a16="http://schemas.microsoft.com/office/drawing/2014/main" id="{56641D1E-7BDE-C789-03DE-B8F91B092963}"/>
                </a:ext>
              </a:extLst>
            </p:cNvPr>
            <p:cNvSpPr/>
            <p:nvPr userDrawn="1"/>
          </p:nvSpPr>
          <p:spPr>
            <a:xfrm>
              <a:off x="10906570" y="1377427"/>
              <a:ext cx="1175626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8090" h="3659521">
                  <a:moveTo>
                    <a:pt x="2747535" y="6299"/>
                  </a:moveTo>
                  <a:lnTo>
                    <a:pt x="3508090" y="0"/>
                  </a:lnTo>
                  <a:lnTo>
                    <a:pt x="782106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9" name="Прямоугольник 2">
              <a:extLst>
                <a:ext uri="{FF2B5EF4-FFF2-40B4-BE49-F238E27FC236}">
                  <a16:creationId xmlns="" xmlns:a16="http://schemas.microsoft.com/office/drawing/2014/main" id="{3271C203-A6DD-B001-2B39-0672A0C0D4E5}"/>
                </a:ext>
              </a:extLst>
            </p:cNvPr>
            <p:cNvSpPr/>
            <p:nvPr userDrawn="1"/>
          </p:nvSpPr>
          <p:spPr>
            <a:xfrm>
              <a:off x="11500294" y="1376362"/>
              <a:ext cx="1007351" cy="1225873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  <a:gd name="connsiteX0" fmla="*/ 2103285 w 2863840"/>
                <a:gd name="connsiteY0" fmla="*/ 6299 h 3654851"/>
                <a:gd name="connsiteX1" fmla="*/ 2863840 w 2863840"/>
                <a:gd name="connsiteY1" fmla="*/ 0 h 3654851"/>
                <a:gd name="connsiteX2" fmla="*/ 137856 w 2863840"/>
                <a:gd name="connsiteY2" fmla="*/ 3654851 h 3654851"/>
                <a:gd name="connsiteX3" fmla="*/ 0 w 2863840"/>
                <a:gd name="connsiteY3" fmla="*/ 3536356 h 3654851"/>
                <a:gd name="connsiteX4" fmla="*/ 2103285 w 2863840"/>
                <a:gd name="connsiteY4" fmla="*/ 6299 h 3654851"/>
                <a:gd name="connsiteX0" fmla="*/ 2216976 w 2977531"/>
                <a:gd name="connsiteY0" fmla="*/ 6299 h 3654851"/>
                <a:gd name="connsiteX1" fmla="*/ 2977531 w 2977531"/>
                <a:gd name="connsiteY1" fmla="*/ 0 h 3654851"/>
                <a:gd name="connsiteX2" fmla="*/ 251547 w 2977531"/>
                <a:gd name="connsiteY2" fmla="*/ 3654851 h 3654851"/>
                <a:gd name="connsiteX3" fmla="*/ 0 w 2977531"/>
                <a:gd name="connsiteY3" fmla="*/ 3631098 h 3654851"/>
                <a:gd name="connsiteX4" fmla="*/ 2216976 w 2977531"/>
                <a:gd name="connsiteY4" fmla="*/ 6299 h 3654851"/>
                <a:gd name="connsiteX0" fmla="*/ 2008542 w 2769097"/>
                <a:gd name="connsiteY0" fmla="*/ 6299 h 3654851"/>
                <a:gd name="connsiteX1" fmla="*/ 2769097 w 2769097"/>
                <a:gd name="connsiteY1" fmla="*/ 0 h 3654851"/>
                <a:gd name="connsiteX2" fmla="*/ 43113 w 2769097"/>
                <a:gd name="connsiteY2" fmla="*/ 3654851 h 3654851"/>
                <a:gd name="connsiteX3" fmla="*/ 0 w 2769097"/>
                <a:gd name="connsiteY3" fmla="*/ 3242654 h 3654851"/>
                <a:gd name="connsiteX4" fmla="*/ 2008542 w 2769097"/>
                <a:gd name="connsiteY4" fmla="*/ 6299 h 3654851"/>
                <a:gd name="connsiteX0" fmla="*/ 2245398 w 3005953"/>
                <a:gd name="connsiteY0" fmla="*/ 6299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245398 w 3005953"/>
                <a:gd name="connsiteY4" fmla="*/ 6299 h 3654851"/>
                <a:gd name="connsiteX0" fmla="*/ 2633843 w 3005953"/>
                <a:gd name="connsiteY0" fmla="*/ 15774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633843 w 3005953"/>
                <a:gd name="connsiteY4" fmla="*/ 15774 h 3654851"/>
                <a:gd name="connsiteX0" fmla="*/ 2794905 w 3005953"/>
                <a:gd name="connsiteY0" fmla="*/ 25248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794905 w 3005953"/>
                <a:gd name="connsiteY4" fmla="*/ 25248 h 3654851"/>
                <a:gd name="connsiteX0" fmla="*/ 2757008 w 3005953"/>
                <a:gd name="connsiteY0" fmla="*/ 0 h 3658026"/>
                <a:gd name="connsiteX1" fmla="*/ 3005953 w 3005953"/>
                <a:gd name="connsiteY1" fmla="*/ 3175 h 3658026"/>
                <a:gd name="connsiteX2" fmla="*/ 279969 w 3005953"/>
                <a:gd name="connsiteY2" fmla="*/ 3658026 h 3658026"/>
                <a:gd name="connsiteX3" fmla="*/ 0 w 3005953"/>
                <a:gd name="connsiteY3" fmla="*/ 3653222 h 3658026"/>
                <a:gd name="connsiteX4" fmla="*/ 2757008 w 3005953"/>
                <a:gd name="connsiteY4" fmla="*/ 0 h 3658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5953" h="3658026">
                  <a:moveTo>
                    <a:pt x="2757008" y="0"/>
                  </a:moveTo>
                  <a:lnTo>
                    <a:pt x="3005953" y="3175"/>
                  </a:lnTo>
                  <a:lnTo>
                    <a:pt x="279969" y="3658026"/>
                  </a:lnTo>
                  <a:lnTo>
                    <a:pt x="0" y="3653222"/>
                  </a:lnTo>
                  <a:lnTo>
                    <a:pt x="2757008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30" name="Заголовок 1">
            <a:extLst>
              <a:ext uri="{FF2B5EF4-FFF2-40B4-BE49-F238E27FC236}">
                <a16:creationId xmlns="" xmlns:a16="http://schemas.microsoft.com/office/drawing/2014/main" id="{A318726A-8E74-B200-1476-C13B597125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74713" y="1818288"/>
            <a:ext cx="7813675" cy="2785241"/>
          </a:xfrm>
        </p:spPr>
        <p:txBody>
          <a:bodyPr anchor="t">
            <a:normAutofit/>
          </a:bodyPr>
          <a:lstStyle>
            <a:lvl1pPr algn="l">
              <a:defRPr sz="4800">
                <a:ln w="15875" cap="sq">
                  <a:solidFill>
                    <a:schemeClr val="bg1"/>
                  </a:solidFill>
                  <a:miter lim="800000"/>
                </a:ln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/ ЗАГОЛОВОК ЗАГЛАВНЫМИ</a:t>
            </a:r>
            <a:br>
              <a:rPr lang="ru-RU" dirty="0"/>
            </a:br>
            <a:r>
              <a:rPr lang="ru-RU" dirty="0"/>
              <a:t>БУКВАМИ МАКСИМУМ</a:t>
            </a:r>
            <a:br>
              <a:rPr lang="ru-RU" dirty="0"/>
            </a:br>
            <a:r>
              <a:rPr lang="ru-RU" dirty="0"/>
              <a:t>4 СТРОКИ</a:t>
            </a:r>
          </a:p>
        </p:txBody>
      </p:sp>
      <p:sp>
        <p:nvSpPr>
          <p:cNvPr id="31" name="Подзаголовок 2">
            <a:extLst>
              <a:ext uri="{FF2B5EF4-FFF2-40B4-BE49-F238E27FC236}">
                <a16:creationId xmlns="" xmlns:a16="http://schemas.microsoft.com/office/drawing/2014/main" id="{826FC6F6-2BD3-9733-0A66-E7DF60D2BE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74713" y="5277997"/>
            <a:ext cx="7813675" cy="706878"/>
          </a:xfrm>
        </p:spPr>
        <p:txBody>
          <a:bodyPr/>
          <a:lstStyle>
            <a:lvl1pPr marL="0" indent="0" algn="l">
              <a:buNone/>
              <a:defRPr sz="24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="" xmlns:a16="http://schemas.microsoft.com/office/drawing/2014/main" id="{88AF0DA2-1FEA-CAFE-10B3-B4190F5217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5613" y="5461864"/>
            <a:ext cx="2403475" cy="523011"/>
          </a:xfrm>
          <a:prstGeom prst="rect">
            <a:avLst/>
          </a:prstGeom>
        </p:spPr>
      </p:pic>
      <p:grpSp>
        <p:nvGrpSpPr>
          <p:cNvPr id="33" name="Группа 32">
            <a:extLst>
              <a:ext uri="{FF2B5EF4-FFF2-40B4-BE49-F238E27FC236}">
                <a16:creationId xmlns="" xmlns:a16="http://schemas.microsoft.com/office/drawing/2014/main" id="{68A18165-BE72-4FD5-2A71-FB67735FE4B6}"/>
              </a:ext>
            </a:extLst>
          </p:cNvPr>
          <p:cNvGrpSpPr/>
          <p:nvPr userDrawn="1"/>
        </p:nvGrpSpPr>
        <p:grpSpPr>
          <a:xfrm>
            <a:off x="874713" y="551990"/>
            <a:ext cx="45719" cy="272382"/>
            <a:chOff x="1046163" y="441325"/>
            <a:chExt cx="45719" cy="272382"/>
          </a:xfrm>
          <a:solidFill>
            <a:schemeClr val="tx1"/>
          </a:solidFill>
        </p:grpSpPr>
        <p:sp>
          <p:nvSpPr>
            <p:cNvPr id="34" name="Прямоугольник 33">
              <a:extLst>
                <a:ext uri="{FF2B5EF4-FFF2-40B4-BE49-F238E27FC236}">
                  <a16:creationId xmlns="" xmlns:a16="http://schemas.microsoft.com/office/drawing/2014/main" id="{375E487D-94AB-3DD8-7C09-8CF638685866}"/>
                </a:ext>
              </a:extLst>
            </p:cNvPr>
            <p:cNvSpPr/>
            <p:nvPr userDrawn="1"/>
          </p:nvSpPr>
          <p:spPr>
            <a:xfrm>
              <a:off x="1046163" y="441325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="" xmlns:a16="http://schemas.microsoft.com/office/drawing/2014/main" id="{022D7316-D76A-A49F-E25C-1EB74CE33676}"/>
                </a:ext>
              </a:extLst>
            </p:cNvPr>
            <p:cNvSpPr/>
            <p:nvPr userDrawn="1"/>
          </p:nvSpPr>
          <p:spPr>
            <a:xfrm>
              <a:off x="1046163" y="554657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="" xmlns:a16="http://schemas.microsoft.com/office/drawing/2014/main" id="{0F8BF6AD-6CDE-7187-C73C-DF00F78528B3}"/>
                </a:ext>
              </a:extLst>
            </p:cNvPr>
            <p:cNvSpPr/>
            <p:nvPr userDrawn="1"/>
          </p:nvSpPr>
          <p:spPr>
            <a:xfrm>
              <a:off x="1046163" y="667988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3268053455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7" orient="horz" pos="550" userDrawn="1">
          <p15:clr>
            <a:srgbClr val="A4A3A4"/>
          </p15:clr>
        </p15:guide>
        <p15:guide id="18" orient="horz" pos="3770" userDrawn="1">
          <p15:clr>
            <a:srgbClr val="A4A3A4"/>
          </p15:clr>
        </p15:guide>
        <p15:guide id="19" orient="horz" pos="4042" userDrawn="1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Студенты) 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Группа 23">
            <a:extLst>
              <a:ext uri="{FF2B5EF4-FFF2-40B4-BE49-F238E27FC236}">
                <a16:creationId xmlns="" xmlns:a16="http://schemas.microsoft.com/office/drawing/2014/main" id="{D9569C36-FEFF-A131-A5F2-1825AF07B96D}"/>
              </a:ext>
            </a:extLst>
          </p:cNvPr>
          <p:cNvGrpSpPr/>
          <p:nvPr userDrawn="1"/>
        </p:nvGrpSpPr>
        <p:grpSpPr>
          <a:xfrm>
            <a:off x="0" y="1376362"/>
            <a:ext cx="12479070" cy="3672171"/>
            <a:chOff x="28575" y="1376362"/>
            <a:chExt cx="12479070" cy="3672171"/>
          </a:xfrm>
          <a:solidFill>
            <a:srgbClr val="4B66CA"/>
          </a:solidFill>
        </p:grpSpPr>
        <p:sp>
          <p:nvSpPr>
            <p:cNvPr id="25" name="Прямоугольник 2">
              <a:extLst>
                <a:ext uri="{FF2B5EF4-FFF2-40B4-BE49-F238E27FC236}">
                  <a16:creationId xmlns="" xmlns:a16="http://schemas.microsoft.com/office/drawing/2014/main" id="{9D257D26-21C6-F487-3230-AC2E6D8E56E9}"/>
                </a:ext>
              </a:extLst>
            </p:cNvPr>
            <p:cNvSpPr/>
            <p:nvPr userDrawn="1"/>
          </p:nvSpPr>
          <p:spPr>
            <a:xfrm>
              <a:off x="28575" y="1376363"/>
              <a:ext cx="10149541" cy="3672170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9541" h="3672170">
                  <a:moveTo>
                    <a:pt x="0" y="0"/>
                  </a:moveTo>
                  <a:lnTo>
                    <a:pt x="10149541" y="3175"/>
                  </a:lnTo>
                  <a:lnTo>
                    <a:pt x="7395135" y="3667501"/>
                  </a:lnTo>
                  <a:lnTo>
                    <a:pt x="0" y="367217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6" name="Прямоугольник 2">
              <a:extLst>
                <a:ext uri="{FF2B5EF4-FFF2-40B4-BE49-F238E27FC236}">
                  <a16:creationId xmlns="" xmlns:a16="http://schemas.microsoft.com/office/drawing/2014/main" id="{FD22B20D-F0B5-29A0-92DB-58696EE5A65F}"/>
                </a:ext>
              </a:extLst>
            </p:cNvPr>
            <p:cNvSpPr/>
            <p:nvPr userDrawn="1"/>
          </p:nvSpPr>
          <p:spPr>
            <a:xfrm>
              <a:off x="9588944" y="1377427"/>
              <a:ext cx="1299451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7585" h="3659521">
                  <a:moveTo>
                    <a:pt x="2728586" y="6299"/>
                  </a:moveTo>
                  <a:lnTo>
                    <a:pt x="3877585" y="0"/>
                  </a:lnTo>
                  <a:lnTo>
                    <a:pt x="1123178" y="3654851"/>
                  </a:lnTo>
                  <a:lnTo>
                    <a:pt x="0" y="3659521"/>
                  </a:lnTo>
                  <a:lnTo>
                    <a:pt x="2728586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7" name="Прямоугольник 2">
              <a:extLst>
                <a:ext uri="{FF2B5EF4-FFF2-40B4-BE49-F238E27FC236}">
                  <a16:creationId xmlns="" xmlns:a16="http://schemas.microsoft.com/office/drawing/2014/main" id="{44C1E0F4-A4C9-5345-7544-C7FA0E3E7A14}"/>
                </a:ext>
              </a:extLst>
            </p:cNvPr>
            <p:cNvSpPr/>
            <p:nvPr userDrawn="1"/>
          </p:nvSpPr>
          <p:spPr>
            <a:xfrm>
              <a:off x="10287445" y="1377427"/>
              <a:ext cx="1232776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8626" h="3659521">
                  <a:moveTo>
                    <a:pt x="2747535" y="6299"/>
                  </a:moveTo>
                  <a:lnTo>
                    <a:pt x="3678626" y="0"/>
                  </a:lnTo>
                  <a:lnTo>
                    <a:pt x="952642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8" name="Прямоугольник 2">
              <a:extLst>
                <a:ext uri="{FF2B5EF4-FFF2-40B4-BE49-F238E27FC236}">
                  <a16:creationId xmlns="" xmlns:a16="http://schemas.microsoft.com/office/drawing/2014/main" id="{56641D1E-7BDE-C789-03DE-B8F91B092963}"/>
                </a:ext>
              </a:extLst>
            </p:cNvPr>
            <p:cNvSpPr/>
            <p:nvPr userDrawn="1"/>
          </p:nvSpPr>
          <p:spPr>
            <a:xfrm>
              <a:off x="10906570" y="1377427"/>
              <a:ext cx="1175626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8090" h="3659521">
                  <a:moveTo>
                    <a:pt x="2747535" y="6299"/>
                  </a:moveTo>
                  <a:lnTo>
                    <a:pt x="3508090" y="0"/>
                  </a:lnTo>
                  <a:lnTo>
                    <a:pt x="782106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9" name="Прямоугольник 2">
              <a:extLst>
                <a:ext uri="{FF2B5EF4-FFF2-40B4-BE49-F238E27FC236}">
                  <a16:creationId xmlns="" xmlns:a16="http://schemas.microsoft.com/office/drawing/2014/main" id="{3271C203-A6DD-B001-2B39-0672A0C0D4E5}"/>
                </a:ext>
              </a:extLst>
            </p:cNvPr>
            <p:cNvSpPr/>
            <p:nvPr userDrawn="1"/>
          </p:nvSpPr>
          <p:spPr>
            <a:xfrm>
              <a:off x="11500294" y="1376362"/>
              <a:ext cx="1007351" cy="1225873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  <a:gd name="connsiteX0" fmla="*/ 2103285 w 2863840"/>
                <a:gd name="connsiteY0" fmla="*/ 6299 h 3654851"/>
                <a:gd name="connsiteX1" fmla="*/ 2863840 w 2863840"/>
                <a:gd name="connsiteY1" fmla="*/ 0 h 3654851"/>
                <a:gd name="connsiteX2" fmla="*/ 137856 w 2863840"/>
                <a:gd name="connsiteY2" fmla="*/ 3654851 h 3654851"/>
                <a:gd name="connsiteX3" fmla="*/ 0 w 2863840"/>
                <a:gd name="connsiteY3" fmla="*/ 3536356 h 3654851"/>
                <a:gd name="connsiteX4" fmla="*/ 2103285 w 2863840"/>
                <a:gd name="connsiteY4" fmla="*/ 6299 h 3654851"/>
                <a:gd name="connsiteX0" fmla="*/ 2216976 w 2977531"/>
                <a:gd name="connsiteY0" fmla="*/ 6299 h 3654851"/>
                <a:gd name="connsiteX1" fmla="*/ 2977531 w 2977531"/>
                <a:gd name="connsiteY1" fmla="*/ 0 h 3654851"/>
                <a:gd name="connsiteX2" fmla="*/ 251547 w 2977531"/>
                <a:gd name="connsiteY2" fmla="*/ 3654851 h 3654851"/>
                <a:gd name="connsiteX3" fmla="*/ 0 w 2977531"/>
                <a:gd name="connsiteY3" fmla="*/ 3631098 h 3654851"/>
                <a:gd name="connsiteX4" fmla="*/ 2216976 w 2977531"/>
                <a:gd name="connsiteY4" fmla="*/ 6299 h 3654851"/>
                <a:gd name="connsiteX0" fmla="*/ 2008542 w 2769097"/>
                <a:gd name="connsiteY0" fmla="*/ 6299 h 3654851"/>
                <a:gd name="connsiteX1" fmla="*/ 2769097 w 2769097"/>
                <a:gd name="connsiteY1" fmla="*/ 0 h 3654851"/>
                <a:gd name="connsiteX2" fmla="*/ 43113 w 2769097"/>
                <a:gd name="connsiteY2" fmla="*/ 3654851 h 3654851"/>
                <a:gd name="connsiteX3" fmla="*/ 0 w 2769097"/>
                <a:gd name="connsiteY3" fmla="*/ 3242654 h 3654851"/>
                <a:gd name="connsiteX4" fmla="*/ 2008542 w 2769097"/>
                <a:gd name="connsiteY4" fmla="*/ 6299 h 3654851"/>
                <a:gd name="connsiteX0" fmla="*/ 2245398 w 3005953"/>
                <a:gd name="connsiteY0" fmla="*/ 6299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245398 w 3005953"/>
                <a:gd name="connsiteY4" fmla="*/ 6299 h 3654851"/>
                <a:gd name="connsiteX0" fmla="*/ 2633843 w 3005953"/>
                <a:gd name="connsiteY0" fmla="*/ 15774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633843 w 3005953"/>
                <a:gd name="connsiteY4" fmla="*/ 15774 h 3654851"/>
                <a:gd name="connsiteX0" fmla="*/ 2794905 w 3005953"/>
                <a:gd name="connsiteY0" fmla="*/ 25248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794905 w 3005953"/>
                <a:gd name="connsiteY4" fmla="*/ 25248 h 3654851"/>
                <a:gd name="connsiteX0" fmla="*/ 2757008 w 3005953"/>
                <a:gd name="connsiteY0" fmla="*/ 0 h 3658026"/>
                <a:gd name="connsiteX1" fmla="*/ 3005953 w 3005953"/>
                <a:gd name="connsiteY1" fmla="*/ 3175 h 3658026"/>
                <a:gd name="connsiteX2" fmla="*/ 279969 w 3005953"/>
                <a:gd name="connsiteY2" fmla="*/ 3658026 h 3658026"/>
                <a:gd name="connsiteX3" fmla="*/ 0 w 3005953"/>
                <a:gd name="connsiteY3" fmla="*/ 3653222 h 3658026"/>
                <a:gd name="connsiteX4" fmla="*/ 2757008 w 3005953"/>
                <a:gd name="connsiteY4" fmla="*/ 0 h 3658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5953" h="3658026">
                  <a:moveTo>
                    <a:pt x="2757008" y="0"/>
                  </a:moveTo>
                  <a:lnTo>
                    <a:pt x="3005953" y="3175"/>
                  </a:lnTo>
                  <a:lnTo>
                    <a:pt x="279969" y="3658026"/>
                  </a:lnTo>
                  <a:lnTo>
                    <a:pt x="0" y="3653222"/>
                  </a:lnTo>
                  <a:lnTo>
                    <a:pt x="2757008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30" name="Заголовок 1">
            <a:extLst>
              <a:ext uri="{FF2B5EF4-FFF2-40B4-BE49-F238E27FC236}">
                <a16:creationId xmlns="" xmlns:a16="http://schemas.microsoft.com/office/drawing/2014/main" id="{A318726A-8E74-B200-1476-C13B597125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74713" y="1818288"/>
            <a:ext cx="7813675" cy="2785241"/>
          </a:xfrm>
        </p:spPr>
        <p:txBody>
          <a:bodyPr anchor="t">
            <a:normAutofit/>
          </a:bodyPr>
          <a:lstStyle>
            <a:lvl1pPr algn="l">
              <a:defRPr sz="4800">
                <a:ln w="15875" cap="sq">
                  <a:solidFill>
                    <a:schemeClr val="bg1"/>
                  </a:solidFill>
                  <a:miter lim="800000"/>
                </a:ln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/ ЗАГОЛОВОК ЗАГЛАВНЫМИ</a:t>
            </a:r>
            <a:br>
              <a:rPr lang="ru-RU" dirty="0"/>
            </a:br>
            <a:r>
              <a:rPr lang="ru-RU" dirty="0"/>
              <a:t>БУКВАМИ МАКСИМУМ</a:t>
            </a:r>
            <a:br>
              <a:rPr lang="ru-RU" dirty="0"/>
            </a:br>
            <a:r>
              <a:rPr lang="ru-RU" dirty="0"/>
              <a:t>4 СТРОКИ</a:t>
            </a:r>
          </a:p>
        </p:txBody>
      </p:sp>
      <p:sp>
        <p:nvSpPr>
          <p:cNvPr id="31" name="Подзаголовок 2">
            <a:extLst>
              <a:ext uri="{FF2B5EF4-FFF2-40B4-BE49-F238E27FC236}">
                <a16:creationId xmlns="" xmlns:a16="http://schemas.microsoft.com/office/drawing/2014/main" id="{826FC6F6-2BD3-9733-0A66-E7DF60D2BE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74713" y="5277997"/>
            <a:ext cx="7813675" cy="706878"/>
          </a:xfrm>
        </p:spPr>
        <p:txBody>
          <a:bodyPr/>
          <a:lstStyle>
            <a:lvl1pPr marL="0" indent="0" algn="l">
              <a:buNone/>
              <a:defRPr sz="24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="" xmlns:a16="http://schemas.microsoft.com/office/drawing/2014/main" id="{88AF0DA2-1FEA-CAFE-10B3-B4190F5217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5613" y="5461864"/>
            <a:ext cx="2403475" cy="523011"/>
          </a:xfrm>
          <a:prstGeom prst="rect">
            <a:avLst/>
          </a:prstGeom>
        </p:spPr>
      </p:pic>
      <p:grpSp>
        <p:nvGrpSpPr>
          <p:cNvPr id="33" name="Группа 32">
            <a:extLst>
              <a:ext uri="{FF2B5EF4-FFF2-40B4-BE49-F238E27FC236}">
                <a16:creationId xmlns="" xmlns:a16="http://schemas.microsoft.com/office/drawing/2014/main" id="{68A18165-BE72-4FD5-2A71-FB67735FE4B6}"/>
              </a:ext>
            </a:extLst>
          </p:cNvPr>
          <p:cNvGrpSpPr/>
          <p:nvPr userDrawn="1"/>
        </p:nvGrpSpPr>
        <p:grpSpPr>
          <a:xfrm>
            <a:off x="874713" y="551990"/>
            <a:ext cx="45719" cy="272382"/>
            <a:chOff x="1046163" y="441325"/>
            <a:chExt cx="45719" cy="272382"/>
          </a:xfrm>
          <a:solidFill>
            <a:schemeClr val="tx1"/>
          </a:solidFill>
        </p:grpSpPr>
        <p:sp>
          <p:nvSpPr>
            <p:cNvPr id="34" name="Прямоугольник 33">
              <a:extLst>
                <a:ext uri="{FF2B5EF4-FFF2-40B4-BE49-F238E27FC236}">
                  <a16:creationId xmlns="" xmlns:a16="http://schemas.microsoft.com/office/drawing/2014/main" id="{375E487D-94AB-3DD8-7C09-8CF638685866}"/>
                </a:ext>
              </a:extLst>
            </p:cNvPr>
            <p:cNvSpPr/>
            <p:nvPr userDrawn="1"/>
          </p:nvSpPr>
          <p:spPr>
            <a:xfrm>
              <a:off x="1046163" y="441325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="" xmlns:a16="http://schemas.microsoft.com/office/drawing/2014/main" id="{022D7316-D76A-A49F-E25C-1EB74CE33676}"/>
                </a:ext>
              </a:extLst>
            </p:cNvPr>
            <p:cNvSpPr/>
            <p:nvPr userDrawn="1"/>
          </p:nvSpPr>
          <p:spPr>
            <a:xfrm>
              <a:off x="1046163" y="554657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="" xmlns:a16="http://schemas.microsoft.com/office/drawing/2014/main" id="{0F8BF6AD-6CDE-7187-C73C-DF00F78528B3}"/>
                </a:ext>
              </a:extLst>
            </p:cNvPr>
            <p:cNvSpPr/>
            <p:nvPr userDrawn="1"/>
          </p:nvSpPr>
          <p:spPr>
            <a:xfrm>
              <a:off x="1046163" y="667988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637414911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7" orient="horz" pos="550" userDrawn="1">
          <p15:clr>
            <a:srgbClr val="A4A3A4"/>
          </p15:clr>
        </p15:guide>
        <p15:guide id="18" orient="horz" pos="3770" userDrawn="1">
          <p15:clr>
            <a:srgbClr val="A4A3A4"/>
          </p15:clr>
        </p15:guide>
        <p15:guide id="19" orient="horz" pos="4042" userDrawn="1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(Общий) Титул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>
            <a:extLst>
              <a:ext uri="{FF2B5EF4-FFF2-40B4-BE49-F238E27FC236}">
                <a16:creationId xmlns="" xmlns:a16="http://schemas.microsoft.com/office/drawing/2014/main" id="{652A3713-1DE2-F5A8-0F79-EFDCF3DC72A8}"/>
              </a:ext>
            </a:extLst>
          </p:cNvPr>
          <p:cNvGrpSpPr/>
          <p:nvPr userDrawn="1"/>
        </p:nvGrpSpPr>
        <p:grpSpPr>
          <a:xfrm>
            <a:off x="0" y="1376362"/>
            <a:ext cx="12479070" cy="3672171"/>
            <a:chOff x="28575" y="1376362"/>
            <a:chExt cx="12479070" cy="3672171"/>
          </a:xfrm>
          <a:solidFill>
            <a:schemeClr val="bg1">
              <a:lumMod val="85000"/>
            </a:schemeClr>
          </a:solidFill>
        </p:grpSpPr>
        <p:sp>
          <p:nvSpPr>
            <p:cNvPr id="11" name="Прямоугольник 2">
              <a:extLst>
                <a:ext uri="{FF2B5EF4-FFF2-40B4-BE49-F238E27FC236}">
                  <a16:creationId xmlns="" xmlns:a16="http://schemas.microsoft.com/office/drawing/2014/main" id="{C8F80AAA-8A74-5FAF-C2B1-6723DDA245FD}"/>
                </a:ext>
              </a:extLst>
            </p:cNvPr>
            <p:cNvSpPr/>
            <p:nvPr userDrawn="1"/>
          </p:nvSpPr>
          <p:spPr>
            <a:xfrm>
              <a:off x="28575" y="1376363"/>
              <a:ext cx="10149541" cy="3672170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9541" h="3672170">
                  <a:moveTo>
                    <a:pt x="0" y="0"/>
                  </a:moveTo>
                  <a:lnTo>
                    <a:pt x="10149541" y="3175"/>
                  </a:lnTo>
                  <a:lnTo>
                    <a:pt x="7395135" y="3667501"/>
                  </a:lnTo>
                  <a:lnTo>
                    <a:pt x="0" y="367217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" name="Прямоугольник 2">
              <a:extLst>
                <a:ext uri="{FF2B5EF4-FFF2-40B4-BE49-F238E27FC236}">
                  <a16:creationId xmlns="" xmlns:a16="http://schemas.microsoft.com/office/drawing/2014/main" id="{F2C24A5E-96AF-AD22-B446-B08F2D5FD9AB}"/>
                </a:ext>
              </a:extLst>
            </p:cNvPr>
            <p:cNvSpPr/>
            <p:nvPr userDrawn="1"/>
          </p:nvSpPr>
          <p:spPr>
            <a:xfrm>
              <a:off x="9588944" y="1377427"/>
              <a:ext cx="1299451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7585" h="3659521">
                  <a:moveTo>
                    <a:pt x="2728586" y="6299"/>
                  </a:moveTo>
                  <a:lnTo>
                    <a:pt x="3877585" y="0"/>
                  </a:lnTo>
                  <a:lnTo>
                    <a:pt x="1123178" y="3654851"/>
                  </a:lnTo>
                  <a:lnTo>
                    <a:pt x="0" y="3659521"/>
                  </a:lnTo>
                  <a:lnTo>
                    <a:pt x="2728586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Прямоугольник 2">
              <a:extLst>
                <a:ext uri="{FF2B5EF4-FFF2-40B4-BE49-F238E27FC236}">
                  <a16:creationId xmlns="" xmlns:a16="http://schemas.microsoft.com/office/drawing/2014/main" id="{E5BB677D-8680-DDC8-96D4-94CF8DC9FAC1}"/>
                </a:ext>
              </a:extLst>
            </p:cNvPr>
            <p:cNvSpPr/>
            <p:nvPr userDrawn="1"/>
          </p:nvSpPr>
          <p:spPr>
            <a:xfrm>
              <a:off x="10287445" y="1377427"/>
              <a:ext cx="1232776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8626" h="3659521">
                  <a:moveTo>
                    <a:pt x="2747535" y="6299"/>
                  </a:moveTo>
                  <a:lnTo>
                    <a:pt x="3678626" y="0"/>
                  </a:lnTo>
                  <a:lnTo>
                    <a:pt x="952642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" name="Прямоугольник 2">
              <a:extLst>
                <a:ext uri="{FF2B5EF4-FFF2-40B4-BE49-F238E27FC236}">
                  <a16:creationId xmlns="" xmlns:a16="http://schemas.microsoft.com/office/drawing/2014/main" id="{944E8809-ABAF-574E-41B8-29348CF8A110}"/>
                </a:ext>
              </a:extLst>
            </p:cNvPr>
            <p:cNvSpPr/>
            <p:nvPr userDrawn="1"/>
          </p:nvSpPr>
          <p:spPr>
            <a:xfrm>
              <a:off x="10906570" y="1377427"/>
              <a:ext cx="1175626" cy="12263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8090" h="3659521">
                  <a:moveTo>
                    <a:pt x="2747535" y="6299"/>
                  </a:moveTo>
                  <a:lnTo>
                    <a:pt x="3508090" y="0"/>
                  </a:lnTo>
                  <a:lnTo>
                    <a:pt x="782106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Прямоугольник 2">
              <a:extLst>
                <a:ext uri="{FF2B5EF4-FFF2-40B4-BE49-F238E27FC236}">
                  <a16:creationId xmlns="" xmlns:a16="http://schemas.microsoft.com/office/drawing/2014/main" id="{A77A7A27-FC04-AB82-5B7B-877BE650A89E}"/>
                </a:ext>
              </a:extLst>
            </p:cNvPr>
            <p:cNvSpPr/>
            <p:nvPr userDrawn="1"/>
          </p:nvSpPr>
          <p:spPr>
            <a:xfrm>
              <a:off x="11500294" y="1376362"/>
              <a:ext cx="1007351" cy="1225873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  <a:gd name="connsiteX0" fmla="*/ 2103285 w 2863840"/>
                <a:gd name="connsiteY0" fmla="*/ 6299 h 3654851"/>
                <a:gd name="connsiteX1" fmla="*/ 2863840 w 2863840"/>
                <a:gd name="connsiteY1" fmla="*/ 0 h 3654851"/>
                <a:gd name="connsiteX2" fmla="*/ 137856 w 2863840"/>
                <a:gd name="connsiteY2" fmla="*/ 3654851 h 3654851"/>
                <a:gd name="connsiteX3" fmla="*/ 0 w 2863840"/>
                <a:gd name="connsiteY3" fmla="*/ 3536356 h 3654851"/>
                <a:gd name="connsiteX4" fmla="*/ 2103285 w 2863840"/>
                <a:gd name="connsiteY4" fmla="*/ 6299 h 3654851"/>
                <a:gd name="connsiteX0" fmla="*/ 2216976 w 2977531"/>
                <a:gd name="connsiteY0" fmla="*/ 6299 h 3654851"/>
                <a:gd name="connsiteX1" fmla="*/ 2977531 w 2977531"/>
                <a:gd name="connsiteY1" fmla="*/ 0 h 3654851"/>
                <a:gd name="connsiteX2" fmla="*/ 251547 w 2977531"/>
                <a:gd name="connsiteY2" fmla="*/ 3654851 h 3654851"/>
                <a:gd name="connsiteX3" fmla="*/ 0 w 2977531"/>
                <a:gd name="connsiteY3" fmla="*/ 3631098 h 3654851"/>
                <a:gd name="connsiteX4" fmla="*/ 2216976 w 2977531"/>
                <a:gd name="connsiteY4" fmla="*/ 6299 h 3654851"/>
                <a:gd name="connsiteX0" fmla="*/ 2008542 w 2769097"/>
                <a:gd name="connsiteY0" fmla="*/ 6299 h 3654851"/>
                <a:gd name="connsiteX1" fmla="*/ 2769097 w 2769097"/>
                <a:gd name="connsiteY1" fmla="*/ 0 h 3654851"/>
                <a:gd name="connsiteX2" fmla="*/ 43113 w 2769097"/>
                <a:gd name="connsiteY2" fmla="*/ 3654851 h 3654851"/>
                <a:gd name="connsiteX3" fmla="*/ 0 w 2769097"/>
                <a:gd name="connsiteY3" fmla="*/ 3242654 h 3654851"/>
                <a:gd name="connsiteX4" fmla="*/ 2008542 w 2769097"/>
                <a:gd name="connsiteY4" fmla="*/ 6299 h 3654851"/>
                <a:gd name="connsiteX0" fmla="*/ 2245398 w 3005953"/>
                <a:gd name="connsiteY0" fmla="*/ 6299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245398 w 3005953"/>
                <a:gd name="connsiteY4" fmla="*/ 6299 h 3654851"/>
                <a:gd name="connsiteX0" fmla="*/ 2633843 w 3005953"/>
                <a:gd name="connsiteY0" fmla="*/ 15774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633843 w 3005953"/>
                <a:gd name="connsiteY4" fmla="*/ 15774 h 3654851"/>
                <a:gd name="connsiteX0" fmla="*/ 2794905 w 3005953"/>
                <a:gd name="connsiteY0" fmla="*/ 25248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794905 w 3005953"/>
                <a:gd name="connsiteY4" fmla="*/ 25248 h 3654851"/>
                <a:gd name="connsiteX0" fmla="*/ 2757008 w 3005953"/>
                <a:gd name="connsiteY0" fmla="*/ 0 h 3658026"/>
                <a:gd name="connsiteX1" fmla="*/ 3005953 w 3005953"/>
                <a:gd name="connsiteY1" fmla="*/ 3175 h 3658026"/>
                <a:gd name="connsiteX2" fmla="*/ 279969 w 3005953"/>
                <a:gd name="connsiteY2" fmla="*/ 3658026 h 3658026"/>
                <a:gd name="connsiteX3" fmla="*/ 0 w 3005953"/>
                <a:gd name="connsiteY3" fmla="*/ 3653222 h 3658026"/>
                <a:gd name="connsiteX4" fmla="*/ 2757008 w 3005953"/>
                <a:gd name="connsiteY4" fmla="*/ 0 h 3658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5953" h="3658026">
                  <a:moveTo>
                    <a:pt x="2757008" y="0"/>
                  </a:moveTo>
                  <a:lnTo>
                    <a:pt x="3005953" y="3175"/>
                  </a:lnTo>
                  <a:lnTo>
                    <a:pt x="279969" y="3658026"/>
                  </a:lnTo>
                  <a:lnTo>
                    <a:pt x="0" y="3653222"/>
                  </a:lnTo>
                  <a:lnTo>
                    <a:pt x="2757008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>
                    <a:lumMod val="8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40A1C9D-1393-2829-F295-F35E4F037A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74713" y="1818288"/>
            <a:ext cx="7813675" cy="2785241"/>
          </a:xfrm>
        </p:spPr>
        <p:txBody>
          <a:bodyPr anchor="t">
            <a:normAutofit/>
          </a:bodyPr>
          <a:lstStyle>
            <a:lvl1pPr algn="l">
              <a:defRPr sz="480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/ ЗАГОЛОВОК ЗАГЛАВНЫМИ</a:t>
            </a:r>
            <a:br>
              <a:rPr lang="ru-RU" dirty="0"/>
            </a:br>
            <a:r>
              <a:rPr lang="ru-RU" dirty="0"/>
              <a:t>БУКВАМИ МАКСИМУМ</a:t>
            </a:r>
            <a:br>
              <a:rPr lang="ru-RU" dirty="0"/>
            </a:br>
            <a:r>
              <a:rPr lang="ru-RU" dirty="0"/>
              <a:t>4 СТРОК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C63BDE24-C031-D378-717E-89E36F6EDC5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74713" y="5277997"/>
            <a:ext cx="7813675" cy="706878"/>
          </a:xfrm>
        </p:spPr>
        <p:txBody>
          <a:bodyPr/>
          <a:lstStyle>
            <a:lvl1pPr marL="0" indent="0" algn="l">
              <a:buNone/>
              <a:defRPr sz="2400"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Подзаголовок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3D6DEBFD-6163-B06F-EF46-78A48860E3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5613" y="5461864"/>
            <a:ext cx="2403475" cy="523011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="" xmlns:a16="http://schemas.microsoft.com/office/drawing/2014/main" id="{04593924-474A-9CFF-F598-7D5FD09A7A31}"/>
              </a:ext>
            </a:extLst>
          </p:cNvPr>
          <p:cNvGrpSpPr/>
          <p:nvPr userDrawn="1"/>
        </p:nvGrpSpPr>
        <p:grpSpPr>
          <a:xfrm>
            <a:off x="874713" y="551990"/>
            <a:ext cx="45719" cy="272382"/>
            <a:chOff x="1046163" y="441325"/>
            <a:chExt cx="45719" cy="272382"/>
          </a:xfrm>
          <a:solidFill>
            <a:schemeClr val="tx1"/>
          </a:solidFill>
        </p:grpSpPr>
        <p:sp>
          <p:nvSpPr>
            <p:cNvPr id="5" name="Прямоугольник 4">
              <a:extLst>
                <a:ext uri="{FF2B5EF4-FFF2-40B4-BE49-F238E27FC236}">
                  <a16:creationId xmlns="" xmlns:a16="http://schemas.microsoft.com/office/drawing/2014/main" id="{2018AA13-0D0A-A35E-1B83-75236E8B0913}"/>
                </a:ext>
              </a:extLst>
            </p:cNvPr>
            <p:cNvSpPr/>
            <p:nvPr userDrawn="1"/>
          </p:nvSpPr>
          <p:spPr>
            <a:xfrm>
              <a:off x="1046163" y="441325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" name="Прямоугольник 5">
              <a:extLst>
                <a:ext uri="{FF2B5EF4-FFF2-40B4-BE49-F238E27FC236}">
                  <a16:creationId xmlns="" xmlns:a16="http://schemas.microsoft.com/office/drawing/2014/main" id="{A84C5542-7707-E0A0-C9E7-AC2E02A90DED}"/>
                </a:ext>
              </a:extLst>
            </p:cNvPr>
            <p:cNvSpPr/>
            <p:nvPr userDrawn="1"/>
          </p:nvSpPr>
          <p:spPr>
            <a:xfrm>
              <a:off x="1046163" y="554657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="" xmlns:a16="http://schemas.microsoft.com/office/drawing/2014/main" id="{74A90653-EAE3-8C92-17F9-C4AFF9F86599}"/>
                </a:ext>
              </a:extLst>
            </p:cNvPr>
            <p:cNvSpPr/>
            <p:nvPr userDrawn="1"/>
          </p:nvSpPr>
          <p:spPr>
            <a:xfrm>
              <a:off x="1046163" y="667988"/>
              <a:ext cx="45719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529989000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>
          <p15:clr>
            <a:srgbClr val="A4A3A4"/>
          </p15:clr>
        </p15:guide>
        <p15:guide id="2" pos="279">
          <p15:clr>
            <a:srgbClr val="A4A3A4"/>
          </p15:clr>
        </p15:guide>
        <p15:guide id="3" pos="551">
          <p15:clr>
            <a:srgbClr val="A4A3A4"/>
          </p15:clr>
        </p15:guide>
        <p15:guide id="4" pos="1096">
          <p15:clr>
            <a:srgbClr val="A4A3A4"/>
          </p15:clr>
        </p15:guide>
        <p15:guide id="5" pos="1640">
          <p15:clr>
            <a:srgbClr val="A4A3A4"/>
          </p15:clr>
        </p15:guide>
        <p15:guide id="6" pos="2184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>
          <p15:clr>
            <a:srgbClr val="A4A3A4"/>
          </p15:clr>
        </p15:guide>
        <p15:guide id="9" pos="3840">
          <p15:clr>
            <a:srgbClr val="A4A3A4"/>
          </p15:clr>
        </p15:guide>
        <p15:guide id="10" pos="4384">
          <p15:clr>
            <a:srgbClr val="A4A3A4"/>
          </p15:clr>
        </p15:guide>
        <p15:guide id="11" pos="4929">
          <p15:clr>
            <a:srgbClr val="A4A3A4"/>
          </p15:clr>
        </p15:guide>
        <p15:guide id="12" pos="5473">
          <p15:clr>
            <a:srgbClr val="A4A3A4"/>
          </p15:clr>
        </p15:guide>
        <p15:guide id="13" pos="6040">
          <p15:clr>
            <a:srgbClr val="A4A3A4"/>
          </p15:clr>
        </p15:guide>
        <p15:guide id="14" pos="6584">
          <p15:clr>
            <a:srgbClr val="A4A3A4"/>
          </p15:clr>
        </p15:guide>
        <p15:guide id="15" pos="7129">
          <p15:clr>
            <a:srgbClr val="A4A3A4"/>
          </p15:clr>
        </p15:guide>
        <p15:guide id="16" pos="7401">
          <p15:clr>
            <a:srgbClr val="A4A3A4"/>
          </p15:clr>
        </p15:guide>
        <p15:guide id="17" orient="horz" pos="550">
          <p15:clr>
            <a:srgbClr val="A4A3A4"/>
          </p15:clr>
        </p15:guide>
        <p15:guide id="18" orient="horz" pos="3770">
          <p15:clr>
            <a:srgbClr val="A4A3A4"/>
          </p15:clr>
        </p15:guide>
        <p15:guide id="19" orient="horz" pos="4042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594782415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ы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327C95A8-98BA-A0AA-0D0A-556CD40EF8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8836" y="2413001"/>
            <a:ext cx="10548451" cy="3571874"/>
          </a:xfrm>
        </p:spPr>
        <p:txBody>
          <a:bodyPr>
            <a:normAutofit/>
          </a:bodyPr>
          <a:lstStyle>
            <a:lvl1pPr marL="0" indent="0">
              <a:buNone/>
              <a:defRPr sz="1400" b="0" i="0" spc="0" baseline="0"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b="0" i="0">
                <a:latin typeface="FSRAILWAY Book" panose="020B0503040504020204" pitchFamily="34" charset="0"/>
              </a:defRPr>
            </a:lvl2pPr>
            <a:lvl3pPr>
              <a:defRPr b="0" i="0">
                <a:latin typeface="FSRAILWAY Book" panose="020B0503040504020204" pitchFamily="34" charset="0"/>
              </a:defRPr>
            </a:lvl3pPr>
            <a:lvl4pPr>
              <a:defRPr b="0" i="0">
                <a:latin typeface="FSRAILWAY Book" panose="020B0503040504020204" pitchFamily="34" charset="0"/>
              </a:defRPr>
            </a:lvl4pPr>
            <a:lvl5pPr>
              <a:defRPr b="0" i="0">
                <a:latin typeface="FSRAILWAY Book" panose="020B0503040504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="" xmlns:a16="http://schemas.microsoft.com/office/drawing/2014/main" id="{4A905702-EA6D-C4D1-FA25-88ADE31D55FE}"/>
              </a:ext>
            </a:extLst>
          </p:cNvPr>
          <p:cNvGrpSpPr/>
          <p:nvPr userDrawn="1"/>
        </p:nvGrpSpPr>
        <p:grpSpPr>
          <a:xfrm>
            <a:off x="9249621" y="4480109"/>
            <a:ext cx="2503213" cy="1936566"/>
            <a:chOff x="704576" y="4524928"/>
            <a:chExt cx="2503213" cy="1936566"/>
          </a:xfrm>
          <a:solidFill>
            <a:schemeClr val="bg1">
              <a:lumMod val="85000"/>
            </a:schemeClr>
          </a:solidFill>
        </p:grpSpPr>
        <p:sp>
          <p:nvSpPr>
            <p:cNvPr id="16" name="Прямоугольник 2">
              <a:extLst>
                <a:ext uri="{FF2B5EF4-FFF2-40B4-BE49-F238E27FC236}">
                  <a16:creationId xmlns="" xmlns:a16="http://schemas.microsoft.com/office/drawing/2014/main" id="{09B901F4-1E4C-DAE6-8553-15F83E4E5D34}"/>
                </a:ext>
              </a:extLst>
            </p:cNvPr>
            <p:cNvSpPr/>
            <p:nvPr/>
          </p:nvSpPr>
          <p:spPr>
            <a:xfrm>
              <a:off x="704576" y="4902384"/>
              <a:ext cx="1196363" cy="1129083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7585" h="3659521">
                  <a:moveTo>
                    <a:pt x="2728586" y="6299"/>
                  </a:moveTo>
                  <a:lnTo>
                    <a:pt x="3877585" y="0"/>
                  </a:lnTo>
                  <a:lnTo>
                    <a:pt x="1123178" y="3654851"/>
                  </a:lnTo>
                  <a:lnTo>
                    <a:pt x="0" y="3659521"/>
                  </a:lnTo>
                  <a:lnTo>
                    <a:pt x="2728586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2">
              <a:extLst>
                <a:ext uri="{FF2B5EF4-FFF2-40B4-BE49-F238E27FC236}">
                  <a16:creationId xmlns="" xmlns:a16="http://schemas.microsoft.com/office/drawing/2014/main" id="{C45BAEC4-C2CB-6084-EDB2-DC9FA7BA95FA}"/>
                </a:ext>
              </a:extLst>
            </p:cNvPr>
            <p:cNvSpPr/>
            <p:nvPr/>
          </p:nvSpPr>
          <p:spPr>
            <a:xfrm>
              <a:off x="836438" y="4524928"/>
              <a:ext cx="761193" cy="757240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8626" h="3659521">
                  <a:moveTo>
                    <a:pt x="2747535" y="6299"/>
                  </a:moveTo>
                  <a:lnTo>
                    <a:pt x="3678626" y="0"/>
                  </a:lnTo>
                  <a:lnTo>
                    <a:pt x="952642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рямоугольник 2">
              <a:extLst>
                <a:ext uri="{FF2B5EF4-FFF2-40B4-BE49-F238E27FC236}">
                  <a16:creationId xmlns="" xmlns:a16="http://schemas.microsoft.com/office/drawing/2014/main" id="{5129BE5B-040E-F018-D674-4AC61354A81E}"/>
                </a:ext>
              </a:extLst>
            </p:cNvPr>
            <p:cNvSpPr/>
            <p:nvPr/>
          </p:nvSpPr>
          <p:spPr>
            <a:xfrm>
              <a:off x="1129149" y="5900630"/>
              <a:ext cx="704655" cy="56086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  <a:gd name="connsiteX0" fmla="*/ 2747535 w 2747536"/>
                <a:gd name="connsiteY0" fmla="*/ 0 h 3653222"/>
                <a:gd name="connsiteX1" fmla="*/ 1571399 w 2747536"/>
                <a:gd name="connsiteY1" fmla="*/ 2477526 h 3653222"/>
                <a:gd name="connsiteX2" fmla="*/ 782106 w 2747536"/>
                <a:gd name="connsiteY2" fmla="*/ 3648552 h 3653222"/>
                <a:gd name="connsiteX3" fmla="*/ 0 w 2747536"/>
                <a:gd name="connsiteY3" fmla="*/ 3653222 h 3653222"/>
                <a:gd name="connsiteX4" fmla="*/ 2747535 w 2747536"/>
                <a:gd name="connsiteY4" fmla="*/ 0 h 3653222"/>
                <a:gd name="connsiteX0" fmla="*/ 1245081 w 1571399"/>
                <a:gd name="connsiteY0" fmla="*/ 0 h 1178081"/>
                <a:gd name="connsiteX1" fmla="*/ 1571399 w 1571399"/>
                <a:gd name="connsiteY1" fmla="*/ 2385 h 1178081"/>
                <a:gd name="connsiteX2" fmla="*/ 782106 w 1571399"/>
                <a:gd name="connsiteY2" fmla="*/ 1173411 h 1178081"/>
                <a:gd name="connsiteX3" fmla="*/ 0 w 1571399"/>
                <a:gd name="connsiteY3" fmla="*/ 1178081 h 1178081"/>
                <a:gd name="connsiteX4" fmla="*/ 1245081 w 1571399"/>
                <a:gd name="connsiteY4" fmla="*/ 0 h 1178081"/>
                <a:gd name="connsiteX0" fmla="*/ 1149549 w 1571399"/>
                <a:gd name="connsiteY0" fmla="*/ 0 h 1516785"/>
                <a:gd name="connsiteX1" fmla="*/ 1571399 w 1571399"/>
                <a:gd name="connsiteY1" fmla="*/ 341089 h 1516785"/>
                <a:gd name="connsiteX2" fmla="*/ 782106 w 1571399"/>
                <a:gd name="connsiteY2" fmla="*/ 1512115 h 1516785"/>
                <a:gd name="connsiteX3" fmla="*/ 0 w 1571399"/>
                <a:gd name="connsiteY3" fmla="*/ 1516785 h 1516785"/>
                <a:gd name="connsiteX4" fmla="*/ 1149549 w 1571399"/>
                <a:gd name="connsiteY4" fmla="*/ 0 h 1516785"/>
                <a:gd name="connsiteX0" fmla="*/ 1149549 w 1901418"/>
                <a:gd name="connsiteY0" fmla="*/ 6299 h 1523084"/>
                <a:gd name="connsiteX1" fmla="*/ 1901418 w 1901418"/>
                <a:gd name="connsiteY1" fmla="*/ 0 h 1523084"/>
                <a:gd name="connsiteX2" fmla="*/ 782106 w 1901418"/>
                <a:gd name="connsiteY2" fmla="*/ 1518414 h 1523084"/>
                <a:gd name="connsiteX3" fmla="*/ 0 w 1901418"/>
                <a:gd name="connsiteY3" fmla="*/ 1523084 h 1523084"/>
                <a:gd name="connsiteX4" fmla="*/ 1149549 w 1901418"/>
                <a:gd name="connsiteY4" fmla="*/ 6299 h 1523084"/>
                <a:gd name="connsiteX0" fmla="*/ 1158234 w 1901418"/>
                <a:gd name="connsiteY0" fmla="*/ 0 h 1690479"/>
                <a:gd name="connsiteX1" fmla="*/ 1901418 w 1901418"/>
                <a:gd name="connsiteY1" fmla="*/ 167395 h 1690479"/>
                <a:gd name="connsiteX2" fmla="*/ 782106 w 1901418"/>
                <a:gd name="connsiteY2" fmla="*/ 1685809 h 1690479"/>
                <a:gd name="connsiteX3" fmla="*/ 0 w 1901418"/>
                <a:gd name="connsiteY3" fmla="*/ 1690479 h 1690479"/>
                <a:gd name="connsiteX4" fmla="*/ 1158234 w 1901418"/>
                <a:gd name="connsiteY4" fmla="*/ 0 h 1690479"/>
                <a:gd name="connsiteX0" fmla="*/ 1210342 w 1901418"/>
                <a:gd name="connsiteY0" fmla="*/ 214732 h 1523084"/>
                <a:gd name="connsiteX1" fmla="*/ 1901418 w 1901418"/>
                <a:gd name="connsiteY1" fmla="*/ 0 h 1523084"/>
                <a:gd name="connsiteX2" fmla="*/ 782106 w 1901418"/>
                <a:gd name="connsiteY2" fmla="*/ 1518414 h 1523084"/>
                <a:gd name="connsiteX3" fmla="*/ 0 w 1901418"/>
                <a:gd name="connsiteY3" fmla="*/ 1523084 h 1523084"/>
                <a:gd name="connsiteX4" fmla="*/ 1210342 w 1901418"/>
                <a:gd name="connsiteY4" fmla="*/ 214732 h 1523084"/>
                <a:gd name="connsiteX0" fmla="*/ 1149549 w 1901418"/>
                <a:gd name="connsiteY0" fmla="*/ 0 h 1542839"/>
                <a:gd name="connsiteX1" fmla="*/ 1901418 w 1901418"/>
                <a:gd name="connsiteY1" fmla="*/ 19755 h 1542839"/>
                <a:gd name="connsiteX2" fmla="*/ 782106 w 1901418"/>
                <a:gd name="connsiteY2" fmla="*/ 1538169 h 1542839"/>
                <a:gd name="connsiteX3" fmla="*/ 0 w 1901418"/>
                <a:gd name="connsiteY3" fmla="*/ 1542839 h 1542839"/>
                <a:gd name="connsiteX4" fmla="*/ 1149549 w 1901418"/>
                <a:gd name="connsiteY4" fmla="*/ 0 h 1542839"/>
                <a:gd name="connsiteX0" fmla="*/ 1149549 w 1901418"/>
                <a:gd name="connsiteY0" fmla="*/ 0 h 1542839"/>
                <a:gd name="connsiteX1" fmla="*/ 1901418 w 1901418"/>
                <a:gd name="connsiteY1" fmla="*/ 19755 h 1542839"/>
                <a:gd name="connsiteX2" fmla="*/ 782106 w 1901418"/>
                <a:gd name="connsiteY2" fmla="*/ 1538169 h 1542839"/>
                <a:gd name="connsiteX3" fmla="*/ 0 w 1901418"/>
                <a:gd name="connsiteY3" fmla="*/ 1542839 h 1542839"/>
                <a:gd name="connsiteX4" fmla="*/ 1149549 w 1901418"/>
                <a:gd name="connsiteY4" fmla="*/ 0 h 1542839"/>
                <a:gd name="connsiteX0" fmla="*/ 1149549 w 1910103"/>
                <a:gd name="connsiteY0" fmla="*/ 0 h 1542839"/>
                <a:gd name="connsiteX1" fmla="*/ 1910103 w 1910103"/>
                <a:gd name="connsiteY1" fmla="*/ 2385 h 1542839"/>
                <a:gd name="connsiteX2" fmla="*/ 782106 w 1910103"/>
                <a:gd name="connsiteY2" fmla="*/ 1538169 h 1542839"/>
                <a:gd name="connsiteX3" fmla="*/ 0 w 1910103"/>
                <a:gd name="connsiteY3" fmla="*/ 1542839 h 1542839"/>
                <a:gd name="connsiteX4" fmla="*/ 1149549 w 1910103"/>
                <a:gd name="connsiteY4" fmla="*/ 0 h 1542839"/>
                <a:gd name="connsiteX0" fmla="*/ 1149549 w 1927472"/>
                <a:gd name="connsiteY0" fmla="*/ 0 h 1542839"/>
                <a:gd name="connsiteX1" fmla="*/ 1927472 w 1927472"/>
                <a:gd name="connsiteY1" fmla="*/ 11070 h 1542839"/>
                <a:gd name="connsiteX2" fmla="*/ 782106 w 1927472"/>
                <a:gd name="connsiteY2" fmla="*/ 1538169 h 1542839"/>
                <a:gd name="connsiteX3" fmla="*/ 0 w 1927472"/>
                <a:gd name="connsiteY3" fmla="*/ 1542839 h 1542839"/>
                <a:gd name="connsiteX4" fmla="*/ 1149549 w 1927472"/>
                <a:gd name="connsiteY4" fmla="*/ 0 h 1542839"/>
                <a:gd name="connsiteX0" fmla="*/ 1219027 w 1927472"/>
                <a:gd name="connsiteY0" fmla="*/ 197363 h 1531769"/>
                <a:gd name="connsiteX1" fmla="*/ 1927472 w 1927472"/>
                <a:gd name="connsiteY1" fmla="*/ 0 h 1531769"/>
                <a:gd name="connsiteX2" fmla="*/ 782106 w 1927472"/>
                <a:gd name="connsiteY2" fmla="*/ 1527099 h 1531769"/>
                <a:gd name="connsiteX3" fmla="*/ 0 w 1927472"/>
                <a:gd name="connsiteY3" fmla="*/ 1531769 h 1531769"/>
                <a:gd name="connsiteX4" fmla="*/ 1219027 w 1927472"/>
                <a:gd name="connsiteY4" fmla="*/ 197363 h 1531769"/>
                <a:gd name="connsiteX0" fmla="*/ 1149549 w 1927472"/>
                <a:gd name="connsiteY0" fmla="*/ 0 h 1534154"/>
                <a:gd name="connsiteX1" fmla="*/ 1927472 w 1927472"/>
                <a:gd name="connsiteY1" fmla="*/ 2385 h 1534154"/>
                <a:gd name="connsiteX2" fmla="*/ 782106 w 1927472"/>
                <a:gd name="connsiteY2" fmla="*/ 1529484 h 1534154"/>
                <a:gd name="connsiteX3" fmla="*/ 0 w 1927472"/>
                <a:gd name="connsiteY3" fmla="*/ 1534154 h 1534154"/>
                <a:gd name="connsiteX4" fmla="*/ 1149549 w 1927472"/>
                <a:gd name="connsiteY4" fmla="*/ 0 h 1534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7472" h="1534154">
                  <a:moveTo>
                    <a:pt x="1149549" y="0"/>
                  </a:moveTo>
                  <a:lnTo>
                    <a:pt x="1927472" y="2385"/>
                  </a:lnTo>
                  <a:lnTo>
                    <a:pt x="782106" y="1529484"/>
                  </a:lnTo>
                  <a:lnTo>
                    <a:pt x="0" y="1534154"/>
                  </a:lnTo>
                  <a:lnTo>
                    <a:pt x="1149549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Прямоугольник 2">
              <a:extLst>
                <a:ext uri="{FF2B5EF4-FFF2-40B4-BE49-F238E27FC236}">
                  <a16:creationId xmlns="" xmlns:a16="http://schemas.microsoft.com/office/drawing/2014/main" id="{27D5FA13-12DC-EB84-0254-9BF4426324C6}"/>
                </a:ext>
              </a:extLst>
            </p:cNvPr>
            <p:cNvSpPr/>
            <p:nvPr/>
          </p:nvSpPr>
          <p:spPr>
            <a:xfrm>
              <a:off x="2589450" y="5282168"/>
              <a:ext cx="618339" cy="7524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  <a:gd name="connsiteX0" fmla="*/ 2103285 w 2863840"/>
                <a:gd name="connsiteY0" fmla="*/ 6299 h 3654851"/>
                <a:gd name="connsiteX1" fmla="*/ 2863840 w 2863840"/>
                <a:gd name="connsiteY1" fmla="*/ 0 h 3654851"/>
                <a:gd name="connsiteX2" fmla="*/ 137856 w 2863840"/>
                <a:gd name="connsiteY2" fmla="*/ 3654851 h 3654851"/>
                <a:gd name="connsiteX3" fmla="*/ 0 w 2863840"/>
                <a:gd name="connsiteY3" fmla="*/ 3536356 h 3654851"/>
                <a:gd name="connsiteX4" fmla="*/ 2103285 w 2863840"/>
                <a:gd name="connsiteY4" fmla="*/ 6299 h 3654851"/>
                <a:gd name="connsiteX0" fmla="*/ 2216976 w 2977531"/>
                <a:gd name="connsiteY0" fmla="*/ 6299 h 3654851"/>
                <a:gd name="connsiteX1" fmla="*/ 2977531 w 2977531"/>
                <a:gd name="connsiteY1" fmla="*/ 0 h 3654851"/>
                <a:gd name="connsiteX2" fmla="*/ 251547 w 2977531"/>
                <a:gd name="connsiteY2" fmla="*/ 3654851 h 3654851"/>
                <a:gd name="connsiteX3" fmla="*/ 0 w 2977531"/>
                <a:gd name="connsiteY3" fmla="*/ 3631098 h 3654851"/>
                <a:gd name="connsiteX4" fmla="*/ 2216976 w 2977531"/>
                <a:gd name="connsiteY4" fmla="*/ 6299 h 3654851"/>
                <a:gd name="connsiteX0" fmla="*/ 2008542 w 2769097"/>
                <a:gd name="connsiteY0" fmla="*/ 6299 h 3654851"/>
                <a:gd name="connsiteX1" fmla="*/ 2769097 w 2769097"/>
                <a:gd name="connsiteY1" fmla="*/ 0 h 3654851"/>
                <a:gd name="connsiteX2" fmla="*/ 43113 w 2769097"/>
                <a:gd name="connsiteY2" fmla="*/ 3654851 h 3654851"/>
                <a:gd name="connsiteX3" fmla="*/ 0 w 2769097"/>
                <a:gd name="connsiteY3" fmla="*/ 3242654 h 3654851"/>
                <a:gd name="connsiteX4" fmla="*/ 2008542 w 2769097"/>
                <a:gd name="connsiteY4" fmla="*/ 6299 h 3654851"/>
                <a:gd name="connsiteX0" fmla="*/ 2245398 w 3005953"/>
                <a:gd name="connsiteY0" fmla="*/ 6299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245398 w 3005953"/>
                <a:gd name="connsiteY4" fmla="*/ 6299 h 3654851"/>
                <a:gd name="connsiteX0" fmla="*/ 2633843 w 3005953"/>
                <a:gd name="connsiteY0" fmla="*/ 15774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633843 w 3005953"/>
                <a:gd name="connsiteY4" fmla="*/ 15774 h 3654851"/>
                <a:gd name="connsiteX0" fmla="*/ 2794905 w 3005953"/>
                <a:gd name="connsiteY0" fmla="*/ 25248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794905 w 3005953"/>
                <a:gd name="connsiteY4" fmla="*/ 25248 h 3654851"/>
                <a:gd name="connsiteX0" fmla="*/ 2757008 w 3005953"/>
                <a:gd name="connsiteY0" fmla="*/ 0 h 3658026"/>
                <a:gd name="connsiteX1" fmla="*/ 3005953 w 3005953"/>
                <a:gd name="connsiteY1" fmla="*/ 3175 h 3658026"/>
                <a:gd name="connsiteX2" fmla="*/ 279969 w 3005953"/>
                <a:gd name="connsiteY2" fmla="*/ 3658026 h 3658026"/>
                <a:gd name="connsiteX3" fmla="*/ 0 w 3005953"/>
                <a:gd name="connsiteY3" fmla="*/ 3653222 h 3658026"/>
                <a:gd name="connsiteX4" fmla="*/ 2757008 w 3005953"/>
                <a:gd name="connsiteY4" fmla="*/ 0 h 3658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5953" h="3658026">
                  <a:moveTo>
                    <a:pt x="2757008" y="0"/>
                  </a:moveTo>
                  <a:lnTo>
                    <a:pt x="3005953" y="3175"/>
                  </a:lnTo>
                  <a:lnTo>
                    <a:pt x="279969" y="3658026"/>
                  </a:lnTo>
                  <a:lnTo>
                    <a:pt x="0" y="3653222"/>
                  </a:lnTo>
                  <a:lnTo>
                    <a:pt x="2757008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7" name="Текст 4">
            <a:extLst>
              <a:ext uri="{FF2B5EF4-FFF2-40B4-BE49-F238E27FC236}">
                <a16:creationId xmlns="" xmlns:a16="http://schemas.microsoft.com/office/drawing/2014/main" id="{450EED4A-789C-6887-9DDB-43DB7656F5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837" y="1675515"/>
            <a:ext cx="10548451" cy="53250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600" b="0" i="0" spc="100" baseline="0">
                <a:ln cap="sq">
                  <a:solidFill>
                    <a:schemeClr val="tx1"/>
                  </a:solidFill>
                  <a:miter lim="800000"/>
                </a:ln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КОРОТКОЕ ДОПОЛНЕНИЕ</a:t>
            </a:r>
            <a:r>
              <a:rPr lang="en-US" dirty="0"/>
              <a:t> </a:t>
            </a:r>
            <a:r>
              <a:rPr lang="ru-RU" dirty="0"/>
              <a:t>К ЗАГОЛОВКУ</a:t>
            </a:r>
          </a:p>
        </p:txBody>
      </p:sp>
      <p:sp>
        <p:nvSpPr>
          <p:cNvPr id="8" name="Заголовок 7">
            <a:extLst>
              <a:ext uri="{FF2B5EF4-FFF2-40B4-BE49-F238E27FC236}">
                <a16:creationId xmlns="" xmlns:a16="http://schemas.microsoft.com/office/drawing/2014/main" id="{9A1A5A5D-4188-B060-B182-734973774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837" y="365125"/>
            <a:ext cx="7919551" cy="1325563"/>
          </a:xfrm>
        </p:spPr>
        <p:txBody>
          <a:bodyPr anchor="t">
            <a:normAutofit/>
          </a:bodyPr>
          <a:lstStyle>
            <a:lvl1pPr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/ </a:t>
            </a:r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ЗАГЛАВНЫЕ</a:t>
            </a:r>
            <a:br>
              <a:rPr lang="ru-RU" dirty="0"/>
            </a:br>
            <a:r>
              <a:rPr lang="ru-RU" dirty="0"/>
              <a:t>БУКВЫ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A74053E4-7187-28E6-175A-1F51FC9B9C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9359" y="445892"/>
            <a:ext cx="2403475" cy="52301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0E0F742A-DAFE-3D4D-8EB7-9635C1DE52F7}"/>
              </a:ext>
            </a:extLst>
          </p:cNvPr>
          <p:cNvSpPr txBox="1"/>
          <p:nvPr userDrawn="1"/>
        </p:nvSpPr>
        <p:spPr>
          <a:xfrm>
            <a:off x="11382935" y="6527374"/>
            <a:ext cx="4908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DA108527-CBD8-B740-9ACE-3CC216988FBA}" type="slidenum">
              <a:rPr lang="ru-RU" sz="120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/>
              <a:t>‹#›</a:t>
            </a:fld>
            <a:endParaRPr lang="ru-RU" sz="12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16797313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78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pos="551" userDrawn="1">
          <p15:clr>
            <a:srgbClr val="A4A3A4"/>
          </p15:clr>
        </p15:guide>
        <p15:guide id="4" pos="1096" userDrawn="1">
          <p15:clr>
            <a:srgbClr val="A4A3A4"/>
          </p15:clr>
        </p15:guide>
        <p15:guide id="5" pos="1640" userDrawn="1">
          <p15:clr>
            <a:srgbClr val="A4A3A4"/>
          </p15:clr>
        </p15:guide>
        <p15:guide id="6" pos="2184" userDrawn="1">
          <p15:clr>
            <a:srgbClr val="A4A3A4"/>
          </p15:clr>
        </p15:guide>
        <p15:guide id="7" pos="2729" userDrawn="1">
          <p15:clr>
            <a:srgbClr val="A4A3A4"/>
          </p15:clr>
        </p15:guide>
        <p15:guide id="8" pos="3296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4384" userDrawn="1">
          <p15:clr>
            <a:srgbClr val="A4A3A4"/>
          </p15:clr>
        </p15:guide>
        <p15:guide id="11" pos="4929" userDrawn="1">
          <p15:clr>
            <a:srgbClr val="A4A3A4"/>
          </p15:clr>
        </p15:guide>
        <p15:guide id="12" pos="5473" userDrawn="1">
          <p15:clr>
            <a:srgbClr val="A4A3A4"/>
          </p15:clr>
        </p15:guide>
        <p15:guide id="13" pos="6040" userDrawn="1">
          <p15:clr>
            <a:srgbClr val="A4A3A4"/>
          </p15:clr>
        </p15:guide>
        <p15:guide id="14" pos="6584" userDrawn="1">
          <p15:clr>
            <a:srgbClr val="A4A3A4"/>
          </p15:clr>
        </p15:guide>
        <p15:guide id="15" pos="7129" userDrawn="1">
          <p15:clr>
            <a:srgbClr val="A4A3A4"/>
          </p15:clr>
        </p15:guide>
        <p15:guide id="16" pos="7401" userDrawn="1">
          <p15:clr>
            <a:srgbClr val="A4A3A4"/>
          </p15:clr>
        </p15:guide>
        <p15:guide id="18" orient="horz" pos="550" userDrawn="1">
          <p15:clr>
            <a:srgbClr val="A4A3A4"/>
          </p15:clr>
        </p15:guide>
        <p15:guide id="19" orient="horz" pos="3770" userDrawn="1">
          <p15:clr>
            <a:srgbClr val="A4A3A4"/>
          </p15:clr>
        </p15:guide>
        <p15:guide id="20" orient="horz" pos="4042" userDrawn="1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EFC0258-FAA2-CFD4-2B9C-37E86F2B9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104FCB0C-E3F1-FC05-27F2-EE1EAE4DC9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97076948-1A24-1C59-45D3-8A0AC28EE47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64BE734-0612-009A-8CFA-8ED94B0BEF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B2E9BD17-1D64-4536-069B-E44E1632F5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3AA894-2D46-F64A-8351-414ADCB5642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983500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49" r:id="rId2"/>
    <p:sldLayoutId id="2147483661" r:id="rId3"/>
    <p:sldLayoutId id="2147483664" r:id="rId4"/>
    <p:sldLayoutId id="2147483665" r:id="rId5"/>
    <p:sldLayoutId id="2147483666" r:id="rId6"/>
    <p:sldLayoutId id="2147483660" r:id="rId7"/>
    <p:sldLayoutId id="2147483688" r:id="rId8"/>
    <p:sldLayoutId id="2147483650" r:id="rId9"/>
    <p:sldLayoutId id="2147483700" r:id="rId10"/>
    <p:sldLayoutId id="2147483684" r:id="rId11"/>
    <p:sldLayoutId id="2147483683" r:id="rId12"/>
    <p:sldLayoutId id="2147483687" r:id="rId13"/>
    <p:sldLayoutId id="2147483667" r:id="rId14"/>
    <p:sldLayoutId id="2147483668" r:id="rId15"/>
    <p:sldLayoutId id="2147483696" r:id="rId16"/>
    <p:sldLayoutId id="2147483682" r:id="rId17"/>
    <p:sldLayoutId id="2147483693" r:id="rId18"/>
    <p:sldLayoutId id="2147483690" r:id="rId19"/>
    <p:sldLayoutId id="2147483691" r:id="rId20"/>
    <p:sldLayoutId id="2147483695" r:id="rId21"/>
    <p:sldLayoutId id="2147483694" r:id="rId22"/>
    <p:sldLayoutId id="2147483692" r:id="rId23"/>
    <p:sldLayoutId id="2147483675" r:id="rId24"/>
    <p:sldLayoutId id="2147483672" r:id="rId25"/>
    <p:sldLayoutId id="2147483689" r:id="rId26"/>
    <p:sldLayoutId id="2147483697" r:id="rId27"/>
    <p:sldLayoutId id="2147483670" r:id="rId28"/>
    <p:sldLayoutId id="2147483679" r:id="rId29"/>
    <p:sldLayoutId id="2147483674" r:id="rId30"/>
    <p:sldLayoutId id="2147483686" r:id="rId31"/>
    <p:sldLayoutId id="2147483681" r:id="rId32"/>
    <p:sldLayoutId id="2147483699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32.jpeg"/><Relationship Id="rId3" Type="http://schemas.openxmlformats.org/officeDocument/2006/relationships/image" Target="../media/image43.png"/><Relationship Id="rId7" Type="http://schemas.microsoft.com/office/2007/relationships/hdphoto" Target="../media/hdphoto3.wdp"/><Relationship Id="rId12" Type="http://schemas.openxmlformats.org/officeDocument/2006/relationships/image" Target="../media/image4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4.png"/><Relationship Id="rId11" Type="http://schemas.microsoft.com/office/2007/relationships/hdphoto" Target="../media/hdphoto5.wdp"/><Relationship Id="rId5" Type="http://schemas.microsoft.com/office/2007/relationships/hdphoto" Target="../media/hdphoto2.wdp"/><Relationship Id="rId10" Type="http://schemas.openxmlformats.org/officeDocument/2006/relationships/image" Target="../media/image46.png"/><Relationship Id="rId9" Type="http://schemas.microsoft.com/office/2007/relationships/hdphoto" Target="../media/hdphoto4.wdp"/><Relationship Id="rId14" Type="http://schemas.openxmlformats.org/officeDocument/2006/relationships/image" Target="../media/image48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9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16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5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6.tiff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12" Type="http://schemas.openxmlformats.org/officeDocument/2006/relationships/image" Target="../media/image2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2.jpeg"/><Relationship Id="rId11" Type="http://schemas.openxmlformats.org/officeDocument/2006/relationships/image" Target="../media/image27.jpeg"/><Relationship Id="rId5" Type="http://schemas.openxmlformats.org/officeDocument/2006/relationships/image" Target="../media/image21.jpeg"/><Relationship Id="rId10" Type="http://schemas.openxmlformats.org/officeDocument/2006/relationships/image" Target="../media/image26.jpeg"/><Relationship Id="rId4" Type="http://schemas.openxmlformats.org/officeDocument/2006/relationships/image" Target="../media/image20.jpeg"/><Relationship Id="rId9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jpe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2.jpeg"/><Relationship Id="rId5" Type="http://schemas.openxmlformats.org/officeDocument/2006/relationships/image" Target="../media/image31.png"/><Relationship Id="rId10" Type="http://schemas.openxmlformats.org/officeDocument/2006/relationships/image" Target="../media/image36.jpeg"/><Relationship Id="rId4" Type="http://schemas.openxmlformats.org/officeDocument/2006/relationships/image" Target="../media/image30.png"/><Relationship Id="rId9" Type="http://schemas.openxmlformats.org/officeDocument/2006/relationships/image" Target="../media/image3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D487D29-1C23-90D7-8797-56570548DF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3364" y="1558121"/>
            <a:ext cx="8414330" cy="2785241"/>
          </a:xfrm>
        </p:spPr>
        <p:txBody>
          <a:bodyPr>
            <a:noAutofit/>
          </a:bodyPr>
          <a:lstStyle/>
          <a:p>
            <a:r>
              <a:rPr lang="ru-RU" sz="6000" spc="120" dirty="0" smtClean="0"/>
              <a:t>Обучение по охране труда работников </a:t>
            </a:r>
            <a:br>
              <a:rPr lang="ru-RU" sz="6000" spc="120" dirty="0" smtClean="0"/>
            </a:br>
            <a:r>
              <a:rPr lang="ru-RU" sz="6000" spc="120" dirty="0" smtClean="0"/>
              <a:t>ОАО «РЖД»</a:t>
            </a:r>
            <a:r>
              <a:rPr kumimoji="1" lang="en-US" sz="6000" b="1" dirty="0" smtClean="0">
                <a:solidFill>
                  <a:srgbClr val="FFFFFF"/>
                </a:solidFill>
              </a:rPr>
              <a:t/>
            </a:r>
            <a:br>
              <a:rPr kumimoji="1" lang="en-US" sz="6000" b="1" dirty="0" smtClean="0">
                <a:solidFill>
                  <a:srgbClr val="FFFFFF"/>
                </a:solidFill>
              </a:rPr>
            </a:br>
            <a:endParaRPr lang="ru-RU" sz="6000" dirty="0"/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4150ECE1-E220-39CA-93B7-D21D05CE5E85}"/>
              </a:ext>
            </a:extLst>
          </p:cNvPr>
          <p:cNvSpPr txBox="1"/>
          <p:nvPr/>
        </p:nvSpPr>
        <p:spPr>
          <a:xfrm>
            <a:off x="461440" y="5506599"/>
            <a:ext cx="655492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b="1" dirty="0" smtClean="0">
                <a:ln w="15875" cap="sq">
                  <a:solidFill>
                    <a:srgbClr val="FFFFFF"/>
                  </a:solidFill>
                  <a:miter lim="800000"/>
                </a:ln>
                <a:solidFill>
                  <a:schemeClr val="accent5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. Владивосток</a:t>
            </a:r>
            <a:r>
              <a:rPr kumimoji="0" lang="ru-RU" sz="2800" b="1" i="0" u="none" strike="noStrike" kern="1200" cap="none" spc="0" normalizeH="0" baseline="0" noProof="0" dirty="0" smtClean="0">
                <a:ln w="15875" cap="sq">
                  <a:solidFill>
                    <a:srgbClr val="FFFFFF"/>
                  </a:solidFill>
                  <a:miter lim="800000"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</a:p>
          <a:p>
            <a:r>
              <a:rPr kumimoji="0" lang="ru-RU" sz="2800" b="1" i="0" u="none" strike="noStrike" kern="1200" cap="none" spc="0" normalizeH="0" baseline="0" noProof="0" dirty="0" smtClean="0">
                <a:ln w="15875" cap="sq">
                  <a:solidFill>
                    <a:srgbClr val="FFFFFF"/>
                  </a:solidFill>
                  <a:miter lim="800000"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 июля 2024 г.</a:t>
            </a:r>
            <a:endParaRPr lang="ru-RU" b="1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59331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FE891A01-1469-D41F-830F-28E6FB70C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37" y="91654"/>
            <a:ext cx="7919551" cy="1070574"/>
          </a:xfrm>
        </p:spPr>
        <p:txBody>
          <a:bodyPr>
            <a:noAutofit/>
          </a:bodyPr>
          <a:lstStyle/>
          <a:p>
            <a:r>
              <a:rPr lang="ru-RU" sz="3700" dirty="0" smtClean="0"/>
              <a:t>/ </a:t>
            </a:r>
            <a:r>
              <a:rPr lang="ru-RU" altLang="ru-RU" sz="3700" cap="all" dirty="0" smtClean="0">
                <a:solidFill>
                  <a:srgbClr val="404040"/>
                </a:solidFill>
                <a:sym typeface="GillSans-Normal"/>
              </a:rPr>
              <a:t>Дополнительные элементы обучения</a:t>
            </a:r>
            <a:endParaRPr lang="ru-RU" sz="3700" dirty="0"/>
          </a:p>
        </p:txBody>
      </p:sp>
      <p:sp>
        <p:nvSpPr>
          <p:cNvPr id="8" name="Нашивка 7"/>
          <p:cNvSpPr/>
          <p:nvPr/>
        </p:nvSpPr>
        <p:spPr>
          <a:xfrm rot="5400000">
            <a:off x="7942884" y="1764088"/>
            <a:ext cx="566161" cy="3156785"/>
          </a:xfrm>
          <a:prstGeom prst="chevron">
            <a:avLst>
              <a:gd name="adj" fmla="val 51509"/>
            </a:avLst>
          </a:prstGeom>
          <a:solidFill>
            <a:srgbClr val="B2C1DB"/>
          </a:solidFill>
          <a:ln>
            <a:solidFill>
              <a:srgbClr val="2051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9" name="Пятиугольник 8"/>
          <p:cNvSpPr/>
          <p:nvPr/>
        </p:nvSpPr>
        <p:spPr>
          <a:xfrm rot="5400000">
            <a:off x="8006740" y="-2125233"/>
            <a:ext cx="439950" cy="7168551"/>
          </a:xfrm>
          <a:prstGeom prst="homePlate">
            <a:avLst>
              <a:gd name="adj" fmla="val 28947"/>
            </a:avLst>
          </a:prstGeom>
          <a:solidFill>
            <a:srgbClr val="4B66CA"/>
          </a:solidFill>
          <a:ln>
            <a:solidFill>
              <a:srgbClr val="2051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530295" y="2006898"/>
            <a:ext cx="3174523" cy="992039"/>
          </a:xfrm>
          <a:prstGeom prst="roundRect">
            <a:avLst/>
          </a:prstGeom>
          <a:solidFill>
            <a:srgbClr val="4B66CA"/>
          </a:solidFill>
          <a:ln>
            <a:solidFill>
              <a:srgbClr val="2051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учение и проверка знания требований </a:t>
            </a:r>
          </a:p>
          <a:p>
            <a:pPr lvl="0" algn="ctr"/>
            <a:r>
              <a:rPr lang="ru-RU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храны труда </a:t>
            </a:r>
          </a:p>
          <a:p>
            <a:pPr lvl="0" algn="ctr"/>
            <a:r>
              <a:rPr lang="ru-RU" sz="1400" b="1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 работодателя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8804685" y="2015526"/>
            <a:ext cx="3194650" cy="971909"/>
          </a:xfrm>
          <a:prstGeom prst="roundRect">
            <a:avLst/>
          </a:prstGeom>
          <a:solidFill>
            <a:srgbClr val="4B66CA"/>
          </a:solidFill>
          <a:ln>
            <a:solidFill>
              <a:srgbClr val="2051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учение и проверка знания требований</a:t>
            </a:r>
          </a:p>
          <a:p>
            <a:pPr lvl="0" algn="ctr"/>
            <a:r>
              <a:rPr lang="ru-RU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охраны труда </a:t>
            </a:r>
          </a:p>
          <a:p>
            <a:pPr lvl="0" algn="ctr"/>
            <a:r>
              <a:rPr lang="ru-RU" sz="1400" b="1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обучающей организации</a:t>
            </a:r>
          </a:p>
        </p:txBody>
      </p:sp>
      <p:sp>
        <p:nvSpPr>
          <p:cNvPr id="12" name="Прямоугольный треугольник 11"/>
          <p:cNvSpPr/>
          <p:nvPr/>
        </p:nvSpPr>
        <p:spPr>
          <a:xfrm rot="18865170">
            <a:off x="5901889" y="1471979"/>
            <a:ext cx="388188" cy="405443"/>
          </a:xfrm>
          <a:prstGeom prst="rtTriangle">
            <a:avLst/>
          </a:prstGeom>
          <a:solidFill>
            <a:srgbClr val="B2C1DB"/>
          </a:solidFill>
          <a:ln>
            <a:solidFill>
              <a:srgbClr val="2051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рямоугольный треугольник 12"/>
          <p:cNvSpPr/>
          <p:nvPr/>
        </p:nvSpPr>
        <p:spPr>
          <a:xfrm rot="18868605">
            <a:off x="10186360" y="1467672"/>
            <a:ext cx="388188" cy="405443"/>
          </a:xfrm>
          <a:prstGeom prst="rtTriangle">
            <a:avLst/>
          </a:prstGeom>
          <a:solidFill>
            <a:srgbClr val="B2C1DB"/>
          </a:solidFill>
          <a:ln>
            <a:solidFill>
              <a:srgbClr val="2051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Овал 14"/>
          <p:cNvSpPr/>
          <p:nvPr/>
        </p:nvSpPr>
        <p:spPr>
          <a:xfrm>
            <a:off x="5358755" y="3698784"/>
            <a:ext cx="5796950" cy="508977"/>
          </a:xfrm>
          <a:prstGeom prst="ellipse">
            <a:avLst/>
          </a:prstGeom>
          <a:solidFill>
            <a:srgbClr val="4B66CA"/>
          </a:solidFill>
          <a:ln>
            <a:solidFill>
              <a:srgbClr val="2051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00050">
              <a:lnSpc>
                <a:spcPct val="90000"/>
              </a:lnSpc>
              <a:spcAft>
                <a:spcPct val="35000"/>
              </a:spcAft>
            </a:pPr>
            <a:r>
              <a:rPr lang="ru-RU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ервичный инструктаж по охране труда на рабочем месте</a:t>
            </a:r>
            <a:endParaRPr lang="ru-RU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Выноска со стрелкой вправо 15"/>
          <p:cNvSpPr/>
          <p:nvPr/>
        </p:nvSpPr>
        <p:spPr>
          <a:xfrm rot="5400000">
            <a:off x="10005694" y="4020759"/>
            <a:ext cx="858768" cy="3217652"/>
          </a:xfrm>
          <a:prstGeom prst="rightArrowCallout">
            <a:avLst>
              <a:gd name="adj1" fmla="val 20083"/>
              <a:gd name="adj2" fmla="val 26640"/>
              <a:gd name="adj3" fmla="val 11886"/>
              <a:gd name="adj4" fmla="val 78278"/>
            </a:avLst>
          </a:prstGeom>
          <a:solidFill>
            <a:srgbClr val="FFFF00"/>
          </a:solidFill>
          <a:ln>
            <a:solidFill>
              <a:srgbClr val="1935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Нашивка 4">
            <a:extLst>
              <a:ext uri="{FF2B5EF4-FFF2-40B4-BE49-F238E27FC236}">
                <a16:creationId xmlns:a16="http://schemas.microsoft.com/office/drawing/2014/main" xmlns="" id="{40CF58DE-5595-4344-AC32-51C914128800}"/>
              </a:ext>
            </a:extLst>
          </p:cNvPr>
          <p:cNvSpPr/>
          <p:nvPr/>
        </p:nvSpPr>
        <p:spPr>
          <a:xfrm>
            <a:off x="8947012" y="5105220"/>
            <a:ext cx="2967487" cy="793630"/>
          </a:xfrm>
          <a:prstGeom prst="rect">
            <a:avLst/>
          </a:prstGeom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5" tIns="12002" rIns="12002" bIns="12002" numCol="1" spcCol="1270" anchor="ctr" anchorCtr="0">
            <a:noAutofit/>
          </a:bodyPr>
          <a:lstStyle/>
          <a:p>
            <a:pPr lvl="0" algn="ctr" defTabSz="400050">
              <a:lnSpc>
                <a:spcPct val="90000"/>
              </a:lnSpc>
              <a:spcAft>
                <a:spcPct val="35000"/>
              </a:spcAft>
            </a:pPr>
            <a:r>
              <a:rPr lang="ru-RU" sz="1400" b="1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верка навыков безопасного</a:t>
            </a:r>
            <a:br>
              <a:rPr lang="ru-RU" sz="1400" b="1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400" b="1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выполнения работ</a:t>
            </a:r>
            <a:endParaRPr lang="ru-RU" sz="1400" b="1" dirty="0">
              <a:solidFill>
                <a:srgbClr val="0070C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Горизонтальный свиток 17"/>
          <p:cNvSpPr/>
          <p:nvPr/>
        </p:nvSpPr>
        <p:spPr>
          <a:xfrm>
            <a:off x="4495791" y="6011085"/>
            <a:ext cx="7565366" cy="636456"/>
          </a:xfrm>
          <a:prstGeom prst="horizontalScroll">
            <a:avLst/>
          </a:prstGeom>
          <a:solidFill>
            <a:srgbClr val="4B66CA"/>
          </a:solidFill>
          <a:ln>
            <a:solidFill>
              <a:srgbClr val="2051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пуск к самостоятельной работе</a:t>
            </a:r>
          </a:p>
        </p:txBody>
      </p:sp>
      <p:sp>
        <p:nvSpPr>
          <p:cNvPr id="19" name="Прямоугольный треугольник 18"/>
          <p:cNvSpPr/>
          <p:nvPr/>
        </p:nvSpPr>
        <p:spPr>
          <a:xfrm rot="18807474">
            <a:off x="8038364" y="4058395"/>
            <a:ext cx="388188" cy="405443"/>
          </a:xfrm>
          <a:prstGeom prst="rtTriangle">
            <a:avLst/>
          </a:prstGeom>
          <a:solidFill>
            <a:srgbClr val="B2C1DB"/>
          </a:solidFill>
          <a:ln>
            <a:solidFill>
              <a:srgbClr val="2051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Прямоугольник с двумя вырезанными соседними углами 19"/>
          <p:cNvSpPr/>
          <p:nvPr/>
        </p:nvSpPr>
        <p:spPr>
          <a:xfrm>
            <a:off x="4668318" y="4587729"/>
            <a:ext cx="7203057" cy="327804"/>
          </a:xfrm>
          <a:prstGeom prst="snip2SameRect">
            <a:avLst>
              <a:gd name="adj1" fmla="val 50000"/>
              <a:gd name="adj2" fmla="val 0"/>
            </a:avLst>
          </a:prstGeom>
          <a:solidFill>
            <a:srgbClr val="4B66CA"/>
          </a:solidFill>
          <a:ln>
            <a:solidFill>
              <a:srgbClr val="2051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00050">
              <a:lnSpc>
                <a:spcPct val="90000"/>
              </a:lnSpc>
              <a:spcAft>
                <a:spcPct val="35000"/>
              </a:spcAft>
            </a:pPr>
            <a:r>
              <a:rPr lang="ru-RU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ажировка на рабочем месте</a:t>
            </a:r>
            <a:endParaRPr lang="ru-RU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Стрелка вниз 20"/>
          <p:cNvSpPr/>
          <p:nvPr/>
        </p:nvSpPr>
        <p:spPr>
          <a:xfrm>
            <a:off x="10241342" y="4950033"/>
            <a:ext cx="321335" cy="224288"/>
          </a:xfrm>
          <a:prstGeom prst="downArrow">
            <a:avLst>
              <a:gd name="adj1" fmla="val 50000"/>
              <a:gd name="adj2" fmla="val 35542"/>
            </a:avLst>
          </a:prstGeom>
          <a:solidFill>
            <a:srgbClr val="B2C1DB"/>
          </a:solidFill>
          <a:ln>
            <a:solidFill>
              <a:srgbClr val="2051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Стрелка вниз 21"/>
          <p:cNvSpPr/>
          <p:nvPr/>
        </p:nvSpPr>
        <p:spPr>
          <a:xfrm>
            <a:off x="5812757" y="4972877"/>
            <a:ext cx="484632" cy="1081177"/>
          </a:xfrm>
          <a:prstGeom prst="downArrow">
            <a:avLst/>
          </a:prstGeom>
          <a:solidFill>
            <a:srgbClr val="B2C1DB"/>
          </a:solidFill>
          <a:ln>
            <a:solidFill>
              <a:srgbClr val="2051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3" name="Рисунок 22"/>
          <p:cNvPicPr/>
          <p:nvPr/>
        </p:nvPicPr>
        <p:blipFill>
          <a:blip r:embed="rId3" cstate="print"/>
          <a:srcRect l="26937" t="15396" r="27205" b="5645"/>
          <a:stretch>
            <a:fillRect/>
          </a:stretch>
        </p:blipFill>
        <p:spPr bwMode="auto">
          <a:xfrm>
            <a:off x="11258" y="1217999"/>
            <a:ext cx="4343939" cy="5382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4" name="Прямая соединительная линия 23">
            <a:extLst>
              <a:ext uri="{FF2B5EF4-FFF2-40B4-BE49-F238E27FC236}">
                <a16:creationId xmlns="" xmlns:a16="http://schemas.microsoft.com/office/drawing/2014/main" id="{81EAC457-E8B8-138B-147A-6E05DD61346C}"/>
              </a:ext>
            </a:extLst>
          </p:cNvPr>
          <p:cNvCxnSpPr>
            <a:cxnSpLocks/>
          </p:cNvCxnSpPr>
          <p:nvPr/>
        </p:nvCxnSpPr>
        <p:spPr>
          <a:xfrm>
            <a:off x="4422895" y="1199580"/>
            <a:ext cx="1" cy="5486401"/>
          </a:xfrm>
          <a:prstGeom prst="line">
            <a:avLst/>
          </a:prstGeom>
          <a:ln w="34925" cmpd="sng">
            <a:solidFill>
              <a:srgbClr val="2051A0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Нашивка 4">
            <a:extLst>
              <a:ext uri="{FF2B5EF4-FFF2-40B4-BE49-F238E27FC236}">
                <a16:creationId xmlns:a16="http://schemas.microsoft.com/office/drawing/2014/main" xmlns="" id="{40CF58DE-5595-4344-AC32-51C914128800}"/>
              </a:ext>
            </a:extLst>
          </p:cNvPr>
          <p:cNvSpPr/>
          <p:nvPr/>
        </p:nvSpPr>
        <p:spPr>
          <a:xfrm>
            <a:off x="5893127" y="1167700"/>
            <a:ext cx="4658259" cy="45149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6005" tIns="12002" rIns="12002" bIns="12002" numCol="1" spcCol="1270" anchor="ctr" anchorCtr="0">
            <a:noAutofit/>
          </a:bodyPr>
          <a:lstStyle/>
          <a:p>
            <a:pPr lvl="0" algn="ctr"/>
            <a:r>
              <a:rPr lang="ru-RU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водный инструктаж по охране труда</a:t>
            </a:r>
            <a:endParaRPr lang="ru-RU" sz="1400" dirty="0"/>
          </a:p>
        </p:txBody>
      </p:sp>
    </p:spTree>
    <p:extLst>
      <p:ext uri="{BB962C8B-B14F-4D97-AF65-F5344CB8AC3E}">
        <p14:creationId xmlns="" xmlns:p14="http://schemas.microsoft.com/office/powerpoint/2010/main" val="147024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FE891A01-1469-D41F-830F-28E6FB70C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37" y="365126"/>
            <a:ext cx="8218644" cy="730418"/>
          </a:xfrm>
        </p:spPr>
        <p:txBody>
          <a:bodyPr>
            <a:normAutofit fontScale="90000"/>
          </a:bodyPr>
          <a:lstStyle/>
          <a:p>
            <a:r>
              <a:rPr lang="ru-RU" dirty="0"/>
              <a:t>/ </a:t>
            </a:r>
            <a:r>
              <a:rPr lang="ru-RU" dirty="0" smtClean="0"/>
              <a:t>ДОПОЛНИТЕЛЬНОЕ ОБУЧЕНИЕ ПО ОХРАНЕ ТРУДА</a:t>
            </a:r>
            <a:endParaRPr lang="ru-RU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0" y="1607938"/>
            <a:ext cx="12192000" cy="4852564"/>
            <a:chOff x="0" y="2163585"/>
            <a:chExt cx="12192000" cy="4852564"/>
          </a:xfrm>
        </p:grpSpPr>
        <p:pic>
          <p:nvPicPr>
            <p:cNvPr id="7" name="Рисунок 2">
              <a:extLst>
                <a:ext uri="{FF2B5EF4-FFF2-40B4-BE49-F238E27FC236}">
                  <a16:creationId xmlns:a16="http://schemas.microsoft.com/office/drawing/2014/main" xmlns="" id="{B3EEE640-AC23-4726-B16F-8631709BB1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8288000" y="5982744"/>
              <a:ext cx="1843809" cy="10251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Рисунок 21">
              <a:extLst>
                <a:ext uri="{FF2B5EF4-FFF2-40B4-BE49-F238E27FC236}">
                  <a16:creationId xmlns:a16="http://schemas.microsoft.com/office/drawing/2014/main" xmlns="" id="{672CCBC8-6859-4E40-8C2D-8BD631DC0AB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530504" y="5974497"/>
              <a:ext cx="1435948" cy="1033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Изображение 8">
              <a:extLst>
                <a:ext uri="{FF2B5EF4-FFF2-40B4-BE49-F238E27FC236}">
                  <a16:creationId xmlns:a16="http://schemas.microsoft.com/office/drawing/2014/main" xmlns="" id="{13B19D5D-A756-4623-AD62-3FE4386927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318987" y="5974497"/>
              <a:ext cx="1650661" cy="1033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Рисунок 7">
              <a:extLst>
                <a:ext uri="{FF2B5EF4-FFF2-40B4-BE49-F238E27FC236}">
                  <a16:creationId xmlns:a16="http://schemas.microsoft.com/office/drawing/2014/main" xmlns="" id="{D31F8C83-4B6F-433F-8AC2-95C36B8C437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053358" y="5982744"/>
              <a:ext cx="2159596" cy="10251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Рисунок 17">
              <a:extLst>
                <a:ext uri="{FF2B5EF4-FFF2-40B4-BE49-F238E27FC236}">
                  <a16:creationId xmlns:a16="http://schemas.microsoft.com/office/drawing/2014/main" xmlns="" id="{35383C8E-73C6-42FC-968D-9E42260A2A6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800107" y="5982744"/>
              <a:ext cx="1480754" cy="1033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2" name="Группа 14">
              <a:extLst>
                <a:ext uri="{FF2B5EF4-FFF2-40B4-BE49-F238E27FC236}">
                  <a16:creationId xmlns:a16="http://schemas.microsoft.com/office/drawing/2014/main" xmlns="" id="{47BF5940-A45A-4D5E-9AAA-31B04DCBB22A}"/>
                </a:ext>
              </a:extLst>
            </p:cNvPr>
            <p:cNvGrpSpPr/>
            <p:nvPr/>
          </p:nvGrpSpPr>
          <p:grpSpPr>
            <a:xfrm>
              <a:off x="1027326" y="2887841"/>
              <a:ext cx="253205" cy="335597"/>
              <a:chOff x="6807724" y="1712685"/>
              <a:chExt cx="327259" cy="433748"/>
            </a:xfrm>
          </p:grpSpPr>
          <p:sp>
            <p:nvSpPr>
              <p:cNvPr id="54" name="Овал 53">
                <a:extLst>
                  <a:ext uri="{FF2B5EF4-FFF2-40B4-BE49-F238E27FC236}">
                    <a16:creationId xmlns:a16="http://schemas.microsoft.com/office/drawing/2014/main" xmlns="" id="{41B70594-7838-4733-A84B-BB42B9CAE9CC}"/>
                  </a:ext>
                </a:extLst>
              </p:cNvPr>
              <p:cNvSpPr/>
              <p:nvPr/>
            </p:nvSpPr>
            <p:spPr>
              <a:xfrm>
                <a:off x="6807724" y="1819174"/>
                <a:ext cx="327259" cy="327259"/>
              </a:xfrm>
              <a:prstGeom prst="ellipse">
                <a:avLst/>
              </a:prstGeom>
              <a:solidFill>
                <a:srgbClr val="46526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600"/>
              </a:p>
            </p:txBody>
          </p:sp>
          <p:sp>
            <p:nvSpPr>
              <p:cNvPr id="55" name="Title 2">
                <a:extLst>
                  <a:ext uri="{FF2B5EF4-FFF2-40B4-BE49-F238E27FC236}">
                    <a16:creationId xmlns:a16="http://schemas.microsoft.com/office/drawing/2014/main" xmlns="" id="{D80B86E6-2ACA-4E2F-A0B8-8A69A09B020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35354" y="1712685"/>
                <a:ext cx="275007" cy="393538"/>
              </a:xfrm>
              <a:prstGeom prst="rect">
                <a:avLst/>
              </a:prstGeom>
            </p:spPr>
            <p:txBody>
              <a:bodyPr lIns="121917" tIns="60958" rIns="121917" bIns="60958" rtlCol="0">
                <a:noAutofit/>
              </a:bodyPr>
              <a:lstStyle/>
              <a:p>
                <a:pPr algn="ctr" defTabSz="685644">
                  <a:lnSpc>
                    <a:spcPts val="2100"/>
                  </a:lnSpc>
                  <a:defRPr/>
                </a:pPr>
                <a:r>
                  <a:rPr lang="ru-RU" altLang="ru-RU" sz="1400" dirty="0">
                    <a:solidFill>
                      <a:schemeClr val="bg1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  <a:sym typeface="GillSans-Normal"/>
                  </a:rPr>
                  <a:t>1</a:t>
                </a:r>
              </a:p>
            </p:txBody>
          </p:sp>
        </p:grpSp>
        <p:sp>
          <p:nvSpPr>
            <p:cNvPr id="13" name="Title 2">
              <a:extLst>
                <a:ext uri="{FF2B5EF4-FFF2-40B4-BE49-F238E27FC236}">
                  <a16:creationId xmlns:a16="http://schemas.microsoft.com/office/drawing/2014/main" xmlns="" id="{22450F26-5476-47BD-8418-BF54DFBA8029}"/>
                </a:ext>
              </a:extLst>
            </p:cNvPr>
            <p:cNvSpPr txBox="1">
              <a:spLocks/>
            </p:cNvSpPr>
            <p:nvPr/>
          </p:nvSpPr>
          <p:spPr>
            <a:xfrm>
              <a:off x="1298741" y="2878814"/>
              <a:ext cx="1604364" cy="814564"/>
            </a:xfrm>
            <a:prstGeom prst="rect">
              <a:avLst/>
            </a:prstGeom>
          </p:spPr>
          <p:txBody>
            <a:bodyPr lIns="121917" tIns="60958" rIns="121917" bIns="60958" rtlCol="0">
              <a:noAutofit/>
            </a:bodyPr>
            <a:lstStyle/>
            <a:p>
              <a:pPr lvl="0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Законодательство по охране </a:t>
              </a:r>
              <a:r>
                <a:rPr lang="en-US" sz="1200" dirty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/>
              </a:r>
              <a:br>
                <a:rPr lang="en-US" sz="1200" dirty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</a:br>
              <a:r>
                <a:rPr lang="ru-RU" sz="1200" dirty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труда </a:t>
              </a: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xmlns="" id="{4FA3975A-80A0-46FB-8AA4-A6968B1BC1E9}"/>
                </a:ext>
              </a:extLst>
            </p:cNvPr>
            <p:cNvSpPr/>
            <p:nvPr/>
          </p:nvSpPr>
          <p:spPr>
            <a:xfrm>
              <a:off x="0" y="5239897"/>
              <a:ext cx="12192000" cy="542092"/>
            </a:xfrm>
            <a:prstGeom prst="rect">
              <a:avLst/>
            </a:prstGeom>
            <a:solidFill>
              <a:srgbClr val="4652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xmlns="" id="{A20E562E-7168-4809-A1BC-2CB7680560C9}"/>
                </a:ext>
              </a:extLst>
            </p:cNvPr>
            <p:cNvSpPr/>
            <p:nvPr/>
          </p:nvSpPr>
          <p:spPr>
            <a:xfrm>
              <a:off x="0" y="2163585"/>
              <a:ext cx="12192000" cy="428056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Title 2">
              <a:extLst>
                <a:ext uri="{FF2B5EF4-FFF2-40B4-BE49-F238E27FC236}">
                  <a16:creationId xmlns:a16="http://schemas.microsoft.com/office/drawing/2014/main" xmlns="" id="{B7D47FD9-8C85-4383-87C0-394F380BB009}"/>
                </a:ext>
              </a:extLst>
            </p:cNvPr>
            <p:cNvSpPr txBox="1">
              <a:spLocks/>
            </p:cNvSpPr>
            <p:nvPr/>
          </p:nvSpPr>
          <p:spPr>
            <a:xfrm>
              <a:off x="895478" y="2231135"/>
              <a:ext cx="4754243" cy="293593"/>
            </a:xfrm>
            <a:prstGeom prst="rect">
              <a:avLst/>
            </a:prstGeom>
          </p:spPr>
          <p:txBody>
            <a:bodyPr lIns="121917" tIns="60958" rIns="121917" bIns="60958" rtlCol="0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ТИПОВОЙ ВИРТУАЛЬНЫЙ КЛАСС</a:t>
              </a:r>
            </a:p>
          </p:txBody>
        </p:sp>
        <p:grpSp>
          <p:nvGrpSpPr>
            <p:cNvPr id="18" name="Группа 44">
              <a:extLst>
                <a:ext uri="{FF2B5EF4-FFF2-40B4-BE49-F238E27FC236}">
                  <a16:creationId xmlns:a16="http://schemas.microsoft.com/office/drawing/2014/main" xmlns="" id="{37FFE12D-2D4A-4BCF-955D-FAEFC6768957}"/>
                </a:ext>
              </a:extLst>
            </p:cNvPr>
            <p:cNvGrpSpPr/>
            <p:nvPr/>
          </p:nvGrpSpPr>
          <p:grpSpPr>
            <a:xfrm>
              <a:off x="3481508" y="2854074"/>
              <a:ext cx="253205" cy="335597"/>
              <a:chOff x="6807724" y="1712685"/>
              <a:chExt cx="327259" cy="433748"/>
            </a:xfrm>
          </p:grpSpPr>
          <p:sp>
            <p:nvSpPr>
              <p:cNvPr id="52" name="Овал 51">
                <a:extLst>
                  <a:ext uri="{FF2B5EF4-FFF2-40B4-BE49-F238E27FC236}">
                    <a16:creationId xmlns:a16="http://schemas.microsoft.com/office/drawing/2014/main" xmlns="" id="{C7422A46-A58F-4252-A4CE-79F7E0621FE5}"/>
                  </a:ext>
                </a:extLst>
              </p:cNvPr>
              <p:cNvSpPr/>
              <p:nvPr/>
            </p:nvSpPr>
            <p:spPr>
              <a:xfrm>
                <a:off x="6807724" y="1819174"/>
                <a:ext cx="327259" cy="327259"/>
              </a:xfrm>
              <a:prstGeom prst="ellipse">
                <a:avLst/>
              </a:prstGeom>
              <a:solidFill>
                <a:srgbClr val="46526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600"/>
              </a:p>
            </p:txBody>
          </p:sp>
          <p:sp>
            <p:nvSpPr>
              <p:cNvPr id="53" name="Title 2">
                <a:extLst>
                  <a:ext uri="{FF2B5EF4-FFF2-40B4-BE49-F238E27FC236}">
                    <a16:creationId xmlns:a16="http://schemas.microsoft.com/office/drawing/2014/main" xmlns="" id="{9EA22C41-B63B-4BB5-8254-439A76A195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35354" y="1712685"/>
                <a:ext cx="275007" cy="393538"/>
              </a:xfrm>
              <a:prstGeom prst="rect">
                <a:avLst/>
              </a:prstGeom>
            </p:spPr>
            <p:txBody>
              <a:bodyPr lIns="121917" tIns="60958" rIns="121917" bIns="60958" rtlCol="0">
                <a:noAutofit/>
              </a:bodyPr>
              <a:lstStyle/>
              <a:p>
                <a:pPr algn="ctr" defTabSz="685644">
                  <a:lnSpc>
                    <a:spcPts val="2100"/>
                  </a:lnSpc>
                  <a:defRPr/>
                </a:pPr>
                <a:r>
                  <a:rPr lang="en-US" altLang="ru-RU" sz="1400" dirty="0">
                    <a:solidFill>
                      <a:schemeClr val="bg1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  <a:sym typeface="GillSans-Normal"/>
                  </a:rPr>
                  <a:t>2</a:t>
                </a:r>
                <a:endParaRPr lang="ru-RU" altLang="ru-RU" sz="1400" dirty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  <a:sym typeface="GillSans-Normal"/>
                </a:endParaRPr>
              </a:p>
            </p:txBody>
          </p:sp>
        </p:grpSp>
        <p:sp>
          <p:nvSpPr>
            <p:cNvPr id="19" name="Title 2">
              <a:extLst>
                <a:ext uri="{FF2B5EF4-FFF2-40B4-BE49-F238E27FC236}">
                  <a16:creationId xmlns:a16="http://schemas.microsoft.com/office/drawing/2014/main" xmlns="" id="{662E4A43-F1A4-4607-94E2-FEF0E95A6B98}"/>
                </a:ext>
              </a:extLst>
            </p:cNvPr>
            <p:cNvSpPr txBox="1">
              <a:spLocks/>
            </p:cNvSpPr>
            <p:nvPr/>
          </p:nvSpPr>
          <p:spPr>
            <a:xfrm>
              <a:off x="3752923" y="2845047"/>
              <a:ext cx="1604364" cy="814564"/>
            </a:xfrm>
            <a:prstGeom prst="rect">
              <a:avLst/>
            </a:prstGeom>
          </p:spPr>
          <p:txBody>
            <a:bodyPr lIns="121917" tIns="60958" rIns="121917" bIns="60958" rtlCol="0">
              <a:noAutofit/>
            </a:bodyPr>
            <a:lstStyle/>
            <a:p>
              <a:pPr indent="0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200" dirty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Структура управления охраной труда</a:t>
              </a:r>
            </a:p>
          </p:txBody>
        </p:sp>
        <p:grpSp>
          <p:nvGrpSpPr>
            <p:cNvPr id="20" name="Группа 48">
              <a:extLst>
                <a:ext uri="{FF2B5EF4-FFF2-40B4-BE49-F238E27FC236}">
                  <a16:creationId xmlns:a16="http://schemas.microsoft.com/office/drawing/2014/main" xmlns="" id="{96B8F299-3501-43FC-9FC3-24A751BB4042}"/>
                </a:ext>
              </a:extLst>
            </p:cNvPr>
            <p:cNvGrpSpPr/>
            <p:nvPr/>
          </p:nvGrpSpPr>
          <p:grpSpPr>
            <a:xfrm>
              <a:off x="5883142" y="2854074"/>
              <a:ext cx="253205" cy="335597"/>
              <a:chOff x="6807724" y="1712685"/>
              <a:chExt cx="327259" cy="433748"/>
            </a:xfrm>
          </p:grpSpPr>
          <p:sp>
            <p:nvSpPr>
              <p:cNvPr id="50" name="Овал 49">
                <a:extLst>
                  <a:ext uri="{FF2B5EF4-FFF2-40B4-BE49-F238E27FC236}">
                    <a16:creationId xmlns:a16="http://schemas.microsoft.com/office/drawing/2014/main" xmlns="" id="{BBDB5F96-3DD1-4E9C-8BF8-6489B13C4F3D}"/>
                  </a:ext>
                </a:extLst>
              </p:cNvPr>
              <p:cNvSpPr/>
              <p:nvPr/>
            </p:nvSpPr>
            <p:spPr>
              <a:xfrm>
                <a:off x="6807724" y="1819174"/>
                <a:ext cx="327259" cy="327259"/>
              </a:xfrm>
              <a:prstGeom prst="ellipse">
                <a:avLst/>
              </a:prstGeom>
              <a:solidFill>
                <a:srgbClr val="46526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600"/>
              </a:p>
            </p:txBody>
          </p:sp>
          <p:sp>
            <p:nvSpPr>
              <p:cNvPr id="51" name="Title 2">
                <a:extLst>
                  <a:ext uri="{FF2B5EF4-FFF2-40B4-BE49-F238E27FC236}">
                    <a16:creationId xmlns:a16="http://schemas.microsoft.com/office/drawing/2014/main" xmlns="" id="{C1911536-CEEB-40D7-BA9F-C128578396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35354" y="1712685"/>
                <a:ext cx="275007" cy="393538"/>
              </a:xfrm>
              <a:prstGeom prst="rect">
                <a:avLst/>
              </a:prstGeom>
            </p:spPr>
            <p:txBody>
              <a:bodyPr lIns="121917" tIns="60958" rIns="121917" bIns="60958" rtlCol="0">
                <a:noAutofit/>
              </a:bodyPr>
              <a:lstStyle/>
              <a:p>
                <a:pPr algn="ctr" defTabSz="685644">
                  <a:lnSpc>
                    <a:spcPts val="2100"/>
                  </a:lnSpc>
                  <a:defRPr/>
                </a:pPr>
                <a:r>
                  <a:rPr lang="en-US" altLang="ru-RU" sz="1400" dirty="0">
                    <a:solidFill>
                      <a:schemeClr val="bg1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  <a:sym typeface="GillSans-Normal"/>
                  </a:rPr>
                  <a:t>3</a:t>
                </a:r>
                <a:endParaRPr lang="ru-RU" altLang="ru-RU" sz="1400" dirty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  <a:sym typeface="GillSans-Normal"/>
                </a:endParaRPr>
              </a:p>
            </p:txBody>
          </p:sp>
        </p:grpSp>
        <p:sp>
          <p:nvSpPr>
            <p:cNvPr id="21" name="Title 2">
              <a:extLst>
                <a:ext uri="{FF2B5EF4-FFF2-40B4-BE49-F238E27FC236}">
                  <a16:creationId xmlns:a16="http://schemas.microsoft.com/office/drawing/2014/main" xmlns="" id="{E52836C3-E1AD-42C1-8633-BA755770D4AD}"/>
                </a:ext>
              </a:extLst>
            </p:cNvPr>
            <p:cNvSpPr txBox="1">
              <a:spLocks/>
            </p:cNvSpPr>
            <p:nvPr/>
          </p:nvSpPr>
          <p:spPr>
            <a:xfrm>
              <a:off x="6154557" y="2845047"/>
              <a:ext cx="1604364" cy="814564"/>
            </a:xfrm>
            <a:prstGeom prst="rect">
              <a:avLst/>
            </a:prstGeom>
          </p:spPr>
          <p:txBody>
            <a:bodyPr lIns="121917" tIns="60958" rIns="121917" bIns="60958" rtlCol="0">
              <a:noAutofit/>
            </a:bodyPr>
            <a:lstStyle/>
            <a:p>
              <a:pPr lvl="0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Инструктажи и проверки </a:t>
              </a:r>
              <a:r>
                <a:rPr lang="en-US" sz="1200" dirty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/>
              </a:r>
              <a:br>
                <a:rPr lang="en-US" sz="1200" dirty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</a:br>
              <a:r>
                <a:rPr lang="ru-RU" sz="1200" dirty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знаний</a:t>
              </a:r>
            </a:p>
          </p:txBody>
        </p:sp>
        <p:grpSp>
          <p:nvGrpSpPr>
            <p:cNvPr id="22" name="Группа 52">
              <a:extLst>
                <a:ext uri="{FF2B5EF4-FFF2-40B4-BE49-F238E27FC236}">
                  <a16:creationId xmlns:a16="http://schemas.microsoft.com/office/drawing/2014/main" xmlns="" id="{C8B0441B-EF34-458F-936D-A3D69A71F711}"/>
                </a:ext>
              </a:extLst>
            </p:cNvPr>
            <p:cNvGrpSpPr/>
            <p:nvPr/>
          </p:nvGrpSpPr>
          <p:grpSpPr>
            <a:xfrm>
              <a:off x="5877360" y="3769118"/>
              <a:ext cx="253205" cy="335597"/>
              <a:chOff x="6807724" y="1712685"/>
              <a:chExt cx="327259" cy="433748"/>
            </a:xfrm>
          </p:grpSpPr>
          <p:sp>
            <p:nvSpPr>
              <p:cNvPr id="48" name="Овал 47">
                <a:extLst>
                  <a:ext uri="{FF2B5EF4-FFF2-40B4-BE49-F238E27FC236}">
                    <a16:creationId xmlns:a16="http://schemas.microsoft.com/office/drawing/2014/main" xmlns="" id="{21BCD941-E7A5-4A1E-AA2D-CE6265A08A63}"/>
                  </a:ext>
                </a:extLst>
              </p:cNvPr>
              <p:cNvSpPr/>
              <p:nvPr/>
            </p:nvSpPr>
            <p:spPr>
              <a:xfrm>
                <a:off x="6807724" y="1819174"/>
                <a:ext cx="327259" cy="327259"/>
              </a:xfrm>
              <a:prstGeom prst="ellipse">
                <a:avLst/>
              </a:prstGeom>
              <a:solidFill>
                <a:srgbClr val="46526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600"/>
              </a:p>
            </p:txBody>
          </p:sp>
          <p:sp>
            <p:nvSpPr>
              <p:cNvPr id="49" name="Title 2">
                <a:extLst>
                  <a:ext uri="{FF2B5EF4-FFF2-40B4-BE49-F238E27FC236}">
                    <a16:creationId xmlns:a16="http://schemas.microsoft.com/office/drawing/2014/main" xmlns="" id="{1A721EF4-AB2F-4844-8B25-741A35DC8DF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35354" y="1712685"/>
                <a:ext cx="275007" cy="393538"/>
              </a:xfrm>
              <a:prstGeom prst="rect">
                <a:avLst/>
              </a:prstGeom>
            </p:spPr>
            <p:txBody>
              <a:bodyPr lIns="121917" tIns="60958" rIns="121917" bIns="60958" rtlCol="0">
                <a:noAutofit/>
              </a:bodyPr>
              <a:lstStyle/>
              <a:p>
                <a:pPr algn="ctr" defTabSz="685644">
                  <a:lnSpc>
                    <a:spcPts val="2100"/>
                  </a:lnSpc>
                  <a:defRPr/>
                </a:pPr>
                <a:r>
                  <a:rPr lang="en-US" altLang="ru-RU" sz="1400" dirty="0">
                    <a:solidFill>
                      <a:schemeClr val="bg1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  <a:sym typeface="GillSans-Normal"/>
                  </a:rPr>
                  <a:t>7</a:t>
                </a:r>
                <a:endParaRPr lang="ru-RU" altLang="ru-RU" sz="1400" dirty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  <a:sym typeface="GillSans-Normal"/>
                </a:endParaRPr>
              </a:p>
            </p:txBody>
          </p:sp>
        </p:grpSp>
        <p:sp>
          <p:nvSpPr>
            <p:cNvPr id="23" name="Title 2">
              <a:extLst>
                <a:ext uri="{FF2B5EF4-FFF2-40B4-BE49-F238E27FC236}">
                  <a16:creationId xmlns:a16="http://schemas.microsoft.com/office/drawing/2014/main" xmlns="" id="{4E033D79-8DDB-45CA-8F4F-954FE0325A43}"/>
                </a:ext>
              </a:extLst>
            </p:cNvPr>
            <p:cNvSpPr txBox="1">
              <a:spLocks/>
            </p:cNvSpPr>
            <p:nvPr/>
          </p:nvSpPr>
          <p:spPr>
            <a:xfrm>
              <a:off x="6148774" y="3760091"/>
              <a:ext cx="1909082" cy="814564"/>
            </a:xfrm>
            <a:prstGeom prst="rect">
              <a:avLst/>
            </a:prstGeom>
          </p:spPr>
          <p:txBody>
            <a:bodyPr lIns="121917" tIns="60958" rIns="121917" bIns="60958" rtlCol="0">
              <a:noAutofit/>
            </a:bodyPr>
            <a:lstStyle/>
            <a:p>
              <a:pPr lvl="0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Основы пожарной и промышленной безопасности</a:t>
              </a:r>
            </a:p>
          </p:txBody>
        </p:sp>
        <p:grpSp>
          <p:nvGrpSpPr>
            <p:cNvPr id="24" name="Группа 56">
              <a:extLst>
                <a:ext uri="{FF2B5EF4-FFF2-40B4-BE49-F238E27FC236}">
                  <a16:creationId xmlns:a16="http://schemas.microsoft.com/office/drawing/2014/main" xmlns="" id="{1E9709C3-B066-4B3E-BCE0-012212CC6C0D}"/>
                </a:ext>
              </a:extLst>
            </p:cNvPr>
            <p:cNvGrpSpPr/>
            <p:nvPr/>
          </p:nvGrpSpPr>
          <p:grpSpPr>
            <a:xfrm>
              <a:off x="8057856" y="2896868"/>
              <a:ext cx="253205" cy="335597"/>
              <a:chOff x="6807724" y="1712685"/>
              <a:chExt cx="327259" cy="433748"/>
            </a:xfrm>
          </p:grpSpPr>
          <p:sp>
            <p:nvSpPr>
              <p:cNvPr id="46" name="Овал 45">
                <a:extLst>
                  <a:ext uri="{FF2B5EF4-FFF2-40B4-BE49-F238E27FC236}">
                    <a16:creationId xmlns:a16="http://schemas.microsoft.com/office/drawing/2014/main" xmlns="" id="{816BB655-A5A3-4D33-8105-2E73E418A6BB}"/>
                  </a:ext>
                </a:extLst>
              </p:cNvPr>
              <p:cNvSpPr/>
              <p:nvPr/>
            </p:nvSpPr>
            <p:spPr>
              <a:xfrm>
                <a:off x="6807724" y="1819174"/>
                <a:ext cx="327259" cy="327259"/>
              </a:xfrm>
              <a:prstGeom prst="ellipse">
                <a:avLst/>
              </a:prstGeom>
              <a:solidFill>
                <a:srgbClr val="46526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600"/>
              </a:p>
            </p:txBody>
          </p:sp>
          <p:sp>
            <p:nvSpPr>
              <p:cNvPr id="47" name="Title 2">
                <a:extLst>
                  <a:ext uri="{FF2B5EF4-FFF2-40B4-BE49-F238E27FC236}">
                    <a16:creationId xmlns:a16="http://schemas.microsoft.com/office/drawing/2014/main" xmlns="" id="{24DBF23B-47AE-4B21-91A5-A911C577E5A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35354" y="1712685"/>
                <a:ext cx="275007" cy="393538"/>
              </a:xfrm>
              <a:prstGeom prst="rect">
                <a:avLst/>
              </a:prstGeom>
            </p:spPr>
            <p:txBody>
              <a:bodyPr lIns="121917" tIns="60958" rIns="121917" bIns="60958" rtlCol="0">
                <a:noAutofit/>
              </a:bodyPr>
              <a:lstStyle/>
              <a:p>
                <a:pPr algn="ctr" defTabSz="685644">
                  <a:lnSpc>
                    <a:spcPts val="2100"/>
                  </a:lnSpc>
                  <a:defRPr/>
                </a:pPr>
                <a:r>
                  <a:rPr lang="en-US" altLang="ru-RU" sz="1400" dirty="0">
                    <a:solidFill>
                      <a:schemeClr val="bg1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  <a:sym typeface="GillSans-Normal"/>
                  </a:rPr>
                  <a:t>4</a:t>
                </a:r>
                <a:endParaRPr lang="ru-RU" altLang="ru-RU" sz="1400" dirty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  <a:sym typeface="GillSans-Normal"/>
                </a:endParaRPr>
              </a:p>
            </p:txBody>
          </p:sp>
        </p:grpSp>
        <p:sp>
          <p:nvSpPr>
            <p:cNvPr id="25" name="Title 2">
              <a:extLst>
                <a:ext uri="{FF2B5EF4-FFF2-40B4-BE49-F238E27FC236}">
                  <a16:creationId xmlns:a16="http://schemas.microsoft.com/office/drawing/2014/main" xmlns="" id="{571D4D24-BF17-47A3-9FF7-B440BD44B4CF}"/>
                </a:ext>
              </a:extLst>
            </p:cNvPr>
            <p:cNvSpPr txBox="1">
              <a:spLocks/>
            </p:cNvSpPr>
            <p:nvPr/>
          </p:nvSpPr>
          <p:spPr>
            <a:xfrm>
              <a:off x="8329271" y="2887841"/>
              <a:ext cx="1604364" cy="814564"/>
            </a:xfrm>
            <a:prstGeom prst="rect">
              <a:avLst/>
            </a:prstGeom>
          </p:spPr>
          <p:txBody>
            <a:bodyPr lIns="121917" tIns="60958" rIns="121917" bIns="60958" rtlCol="0">
              <a:noAutofit/>
            </a:bodyPr>
            <a:lstStyle/>
            <a:p>
              <a:pPr indent="0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200" dirty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Спец одежда, спец обувь и СИЗ</a:t>
              </a:r>
            </a:p>
          </p:txBody>
        </p:sp>
        <p:grpSp>
          <p:nvGrpSpPr>
            <p:cNvPr id="26" name="Группа 60">
              <a:extLst>
                <a:ext uri="{FF2B5EF4-FFF2-40B4-BE49-F238E27FC236}">
                  <a16:creationId xmlns:a16="http://schemas.microsoft.com/office/drawing/2014/main" xmlns="" id="{8E625B9E-CA4C-40F0-B2BE-991CD132485F}"/>
                </a:ext>
              </a:extLst>
            </p:cNvPr>
            <p:cNvGrpSpPr/>
            <p:nvPr/>
          </p:nvGrpSpPr>
          <p:grpSpPr>
            <a:xfrm>
              <a:off x="1027326" y="3723333"/>
              <a:ext cx="253205" cy="352074"/>
              <a:chOff x="6807724" y="1691389"/>
              <a:chExt cx="327259" cy="455044"/>
            </a:xfrm>
          </p:grpSpPr>
          <p:sp>
            <p:nvSpPr>
              <p:cNvPr id="44" name="Овал 43">
                <a:extLst>
                  <a:ext uri="{FF2B5EF4-FFF2-40B4-BE49-F238E27FC236}">
                    <a16:creationId xmlns:a16="http://schemas.microsoft.com/office/drawing/2014/main" xmlns="" id="{4A373051-6E73-4FD8-8FB4-4856C0489BE1}"/>
                  </a:ext>
                </a:extLst>
              </p:cNvPr>
              <p:cNvSpPr/>
              <p:nvPr/>
            </p:nvSpPr>
            <p:spPr>
              <a:xfrm>
                <a:off x="6807724" y="1819174"/>
                <a:ext cx="327259" cy="327259"/>
              </a:xfrm>
              <a:prstGeom prst="ellipse">
                <a:avLst/>
              </a:prstGeom>
              <a:solidFill>
                <a:srgbClr val="46526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600"/>
              </a:p>
            </p:txBody>
          </p:sp>
          <p:sp>
            <p:nvSpPr>
              <p:cNvPr id="45" name="Title 2">
                <a:extLst>
                  <a:ext uri="{FF2B5EF4-FFF2-40B4-BE49-F238E27FC236}">
                    <a16:creationId xmlns:a16="http://schemas.microsoft.com/office/drawing/2014/main" xmlns="" id="{80CCD0F3-C1D0-48C2-8306-42738ABBF99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35354" y="1691389"/>
                <a:ext cx="275007" cy="393538"/>
              </a:xfrm>
              <a:prstGeom prst="rect">
                <a:avLst/>
              </a:prstGeom>
            </p:spPr>
            <p:txBody>
              <a:bodyPr lIns="121917" tIns="60958" rIns="121917" bIns="60958" rtlCol="0">
                <a:noAutofit/>
              </a:bodyPr>
              <a:lstStyle/>
              <a:p>
                <a:pPr algn="ctr" defTabSz="685644">
                  <a:lnSpc>
                    <a:spcPts val="2100"/>
                  </a:lnSpc>
                  <a:defRPr/>
                </a:pPr>
                <a:r>
                  <a:rPr lang="en-US" altLang="ru-RU" sz="1400" dirty="0">
                    <a:solidFill>
                      <a:schemeClr val="bg1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  <a:sym typeface="GillSans-Normal"/>
                  </a:rPr>
                  <a:t>5</a:t>
                </a:r>
                <a:endParaRPr lang="ru-RU" altLang="ru-RU" sz="1400" dirty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  <a:sym typeface="GillSans-Normal"/>
                </a:endParaRPr>
              </a:p>
            </p:txBody>
          </p:sp>
        </p:grpSp>
        <p:sp>
          <p:nvSpPr>
            <p:cNvPr id="27" name="Title 2">
              <a:extLst>
                <a:ext uri="{FF2B5EF4-FFF2-40B4-BE49-F238E27FC236}">
                  <a16:creationId xmlns:a16="http://schemas.microsoft.com/office/drawing/2014/main" xmlns="" id="{B01B538D-88E6-406C-B851-5C44EC4EA1BD}"/>
                </a:ext>
              </a:extLst>
            </p:cNvPr>
            <p:cNvSpPr txBox="1">
              <a:spLocks/>
            </p:cNvSpPr>
            <p:nvPr/>
          </p:nvSpPr>
          <p:spPr>
            <a:xfrm>
              <a:off x="1298741" y="3730783"/>
              <a:ext cx="1604364" cy="814564"/>
            </a:xfrm>
            <a:prstGeom prst="rect">
              <a:avLst/>
            </a:prstGeom>
          </p:spPr>
          <p:txBody>
            <a:bodyPr lIns="121917" tIns="60958" rIns="121917" bIns="60958" rtlCol="0">
              <a:noAutofit/>
            </a:bodyPr>
            <a:lstStyle/>
            <a:p>
              <a:pPr lvl="0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Правила оказания первой помощи</a:t>
              </a:r>
            </a:p>
          </p:txBody>
        </p:sp>
        <p:grpSp>
          <p:nvGrpSpPr>
            <p:cNvPr id="28" name="Группа 64">
              <a:extLst>
                <a:ext uri="{FF2B5EF4-FFF2-40B4-BE49-F238E27FC236}">
                  <a16:creationId xmlns:a16="http://schemas.microsoft.com/office/drawing/2014/main" xmlns="" id="{D1728C16-2220-46AB-989D-0A671A1C2E38}"/>
                </a:ext>
              </a:extLst>
            </p:cNvPr>
            <p:cNvGrpSpPr/>
            <p:nvPr/>
          </p:nvGrpSpPr>
          <p:grpSpPr>
            <a:xfrm>
              <a:off x="3481508" y="3738111"/>
              <a:ext cx="253205" cy="335597"/>
              <a:chOff x="6807724" y="1712685"/>
              <a:chExt cx="327259" cy="433748"/>
            </a:xfrm>
          </p:grpSpPr>
          <p:sp>
            <p:nvSpPr>
              <p:cNvPr id="42" name="Овал 41">
                <a:extLst>
                  <a:ext uri="{FF2B5EF4-FFF2-40B4-BE49-F238E27FC236}">
                    <a16:creationId xmlns:a16="http://schemas.microsoft.com/office/drawing/2014/main" xmlns="" id="{5E9E04FE-6C49-4DC8-87AB-E2B441FCD8A3}"/>
                  </a:ext>
                </a:extLst>
              </p:cNvPr>
              <p:cNvSpPr/>
              <p:nvPr/>
            </p:nvSpPr>
            <p:spPr>
              <a:xfrm>
                <a:off x="6807724" y="1819174"/>
                <a:ext cx="327259" cy="327259"/>
              </a:xfrm>
              <a:prstGeom prst="ellipse">
                <a:avLst/>
              </a:prstGeom>
              <a:solidFill>
                <a:srgbClr val="46526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600"/>
              </a:p>
            </p:txBody>
          </p:sp>
          <p:sp>
            <p:nvSpPr>
              <p:cNvPr id="43" name="Title 2">
                <a:extLst>
                  <a:ext uri="{FF2B5EF4-FFF2-40B4-BE49-F238E27FC236}">
                    <a16:creationId xmlns:a16="http://schemas.microsoft.com/office/drawing/2014/main" xmlns="" id="{AC729C91-FE78-4B90-AC41-56EC5EAB27A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35354" y="1712685"/>
                <a:ext cx="275007" cy="393538"/>
              </a:xfrm>
              <a:prstGeom prst="rect">
                <a:avLst/>
              </a:prstGeom>
            </p:spPr>
            <p:txBody>
              <a:bodyPr lIns="121917" tIns="60958" rIns="121917" bIns="60958" rtlCol="0">
                <a:noAutofit/>
              </a:bodyPr>
              <a:lstStyle/>
              <a:p>
                <a:pPr algn="ctr" defTabSz="685644">
                  <a:lnSpc>
                    <a:spcPts val="2100"/>
                  </a:lnSpc>
                  <a:defRPr/>
                </a:pPr>
                <a:r>
                  <a:rPr lang="en-US" altLang="ru-RU" sz="1400" dirty="0">
                    <a:solidFill>
                      <a:schemeClr val="bg1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  <a:sym typeface="GillSans-Normal"/>
                  </a:rPr>
                  <a:t>6</a:t>
                </a:r>
                <a:endParaRPr lang="ru-RU" altLang="ru-RU" sz="1400" dirty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  <a:sym typeface="GillSans-Normal"/>
                </a:endParaRPr>
              </a:p>
            </p:txBody>
          </p:sp>
        </p:grpSp>
        <p:sp>
          <p:nvSpPr>
            <p:cNvPr id="29" name="Title 2">
              <a:extLst>
                <a:ext uri="{FF2B5EF4-FFF2-40B4-BE49-F238E27FC236}">
                  <a16:creationId xmlns:a16="http://schemas.microsoft.com/office/drawing/2014/main" xmlns="" id="{F6F3CAC6-066E-4756-A6BE-ADB9A80E44DE}"/>
                </a:ext>
              </a:extLst>
            </p:cNvPr>
            <p:cNvSpPr txBox="1">
              <a:spLocks/>
            </p:cNvSpPr>
            <p:nvPr/>
          </p:nvSpPr>
          <p:spPr>
            <a:xfrm>
              <a:off x="3752923" y="3820503"/>
              <a:ext cx="2022156" cy="428056"/>
            </a:xfrm>
            <a:prstGeom prst="rect">
              <a:avLst/>
            </a:prstGeom>
          </p:spPr>
          <p:txBody>
            <a:bodyPr lIns="121917" tIns="60958" rIns="121917" bIns="60958" rtlCol="0">
              <a:noAutofit/>
            </a:bodyPr>
            <a:lstStyle/>
            <a:p>
              <a:pPr indent="0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200" dirty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Электробезопасность</a:t>
              </a:r>
            </a:p>
          </p:txBody>
        </p:sp>
        <p:grpSp>
          <p:nvGrpSpPr>
            <p:cNvPr id="30" name="Группа 77">
              <a:extLst>
                <a:ext uri="{FF2B5EF4-FFF2-40B4-BE49-F238E27FC236}">
                  <a16:creationId xmlns:a16="http://schemas.microsoft.com/office/drawing/2014/main" xmlns="" id="{B22AF2E9-80ED-4EA5-B0EE-8AB970CF33EB}"/>
                </a:ext>
              </a:extLst>
            </p:cNvPr>
            <p:cNvGrpSpPr/>
            <p:nvPr/>
          </p:nvGrpSpPr>
          <p:grpSpPr>
            <a:xfrm>
              <a:off x="646282" y="5320930"/>
              <a:ext cx="10610292" cy="357592"/>
              <a:chOff x="370057" y="5225680"/>
              <a:chExt cx="10610292" cy="357592"/>
            </a:xfrm>
          </p:grpSpPr>
          <p:sp>
            <p:nvSpPr>
              <p:cNvPr id="33" name="Прямоугольник 32">
                <a:extLst>
                  <a:ext uri="{FF2B5EF4-FFF2-40B4-BE49-F238E27FC236}">
                    <a16:creationId xmlns:a16="http://schemas.microsoft.com/office/drawing/2014/main" xmlns="" id="{D62B2A2A-EB58-4E55-B98C-6D25ED7FAD04}"/>
                  </a:ext>
                </a:extLst>
              </p:cNvPr>
              <p:cNvSpPr/>
              <p:nvPr/>
            </p:nvSpPr>
            <p:spPr bwMode="auto">
              <a:xfrm>
                <a:off x="370057" y="5234729"/>
                <a:ext cx="536492" cy="3240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ЦТ</a:t>
                </a:r>
              </a:p>
            </p:txBody>
          </p:sp>
          <p:sp>
            <p:nvSpPr>
              <p:cNvPr id="34" name="Прямоугольник 33">
                <a:extLst>
                  <a:ext uri="{FF2B5EF4-FFF2-40B4-BE49-F238E27FC236}">
                    <a16:creationId xmlns:a16="http://schemas.microsoft.com/office/drawing/2014/main" xmlns="" id="{7BB3E41B-A4C6-4A87-98D8-D14F277EBFE5}"/>
                  </a:ext>
                </a:extLst>
              </p:cNvPr>
              <p:cNvSpPr/>
              <p:nvPr/>
            </p:nvSpPr>
            <p:spPr bwMode="auto">
              <a:xfrm>
                <a:off x="2591017" y="5225680"/>
                <a:ext cx="608500" cy="3240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ЦЭ</a:t>
                </a:r>
              </a:p>
            </p:txBody>
          </p:sp>
          <p:sp>
            <p:nvSpPr>
              <p:cNvPr id="35" name="Прямоугольник 34">
                <a:extLst>
                  <a:ext uri="{FF2B5EF4-FFF2-40B4-BE49-F238E27FC236}">
                    <a16:creationId xmlns:a16="http://schemas.microsoft.com/office/drawing/2014/main" xmlns="" id="{AB3AA114-627A-4C1F-BA59-256475D3458F}"/>
                  </a:ext>
                </a:extLst>
              </p:cNvPr>
              <p:cNvSpPr/>
              <p:nvPr/>
            </p:nvSpPr>
            <p:spPr bwMode="auto">
              <a:xfrm>
                <a:off x="4799325" y="5225680"/>
                <a:ext cx="699934" cy="3240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ЦДРП</a:t>
                </a:r>
              </a:p>
            </p:txBody>
          </p:sp>
          <p:sp>
            <p:nvSpPr>
              <p:cNvPr id="36" name="Прямоугольник 35">
                <a:extLst>
                  <a:ext uri="{FF2B5EF4-FFF2-40B4-BE49-F238E27FC236}">
                    <a16:creationId xmlns:a16="http://schemas.microsoft.com/office/drawing/2014/main" xmlns="" id="{6BC7CC76-27C3-416F-8214-9D730BCEEBC6}"/>
                  </a:ext>
                </a:extLst>
              </p:cNvPr>
              <p:cNvSpPr/>
              <p:nvPr/>
            </p:nvSpPr>
            <p:spPr bwMode="auto">
              <a:xfrm>
                <a:off x="7190501" y="5259236"/>
                <a:ext cx="819127" cy="3240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ЦШ</a:t>
                </a:r>
              </a:p>
            </p:txBody>
          </p:sp>
          <p:sp>
            <p:nvSpPr>
              <p:cNvPr id="37" name="Прямоугольник 36">
                <a:extLst>
                  <a:ext uri="{FF2B5EF4-FFF2-40B4-BE49-F238E27FC236}">
                    <a16:creationId xmlns:a16="http://schemas.microsoft.com/office/drawing/2014/main" xmlns="" id="{E9BBBE3F-6BDA-45AD-9969-49345F494994}"/>
                  </a:ext>
                </a:extLst>
              </p:cNvPr>
              <p:cNvSpPr/>
              <p:nvPr/>
            </p:nvSpPr>
            <p:spPr bwMode="auto">
              <a:xfrm>
                <a:off x="8505282" y="5259236"/>
                <a:ext cx="1152128" cy="3240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ЦВ</a:t>
                </a:r>
              </a:p>
            </p:txBody>
          </p:sp>
          <p:sp>
            <p:nvSpPr>
              <p:cNvPr id="38" name="Прямоугольник 37">
                <a:extLst>
                  <a:ext uri="{FF2B5EF4-FFF2-40B4-BE49-F238E27FC236}">
                    <a16:creationId xmlns:a16="http://schemas.microsoft.com/office/drawing/2014/main" xmlns="" id="{64E4FB63-31DB-4F83-9BA7-DD417521C7CF}"/>
                  </a:ext>
                </a:extLst>
              </p:cNvPr>
              <p:cNvSpPr/>
              <p:nvPr/>
            </p:nvSpPr>
            <p:spPr bwMode="auto">
              <a:xfrm>
                <a:off x="10153067" y="5259236"/>
                <a:ext cx="827282" cy="3240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ЦД</a:t>
                </a:r>
              </a:p>
            </p:txBody>
          </p:sp>
          <p:sp>
            <p:nvSpPr>
              <p:cNvPr id="39" name="Прямоугольник 38">
                <a:extLst>
                  <a:ext uri="{FF2B5EF4-FFF2-40B4-BE49-F238E27FC236}">
                    <a16:creationId xmlns:a16="http://schemas.microsoft.com/office/drawing/2014/main" xmlns="" id="{FE59CCED-7589-4E18-8D9E-9A7531D4CBB6}"/>
                  </a:ext>
                </a:extLst>
              </p:cNvPr>
              <p:cNvSpPr/>
              <p:nvPr/>
            </p:nvSpPr>
            <p:spPr bwMode="auto">
              <a:xfrm>
                <a:off x="3695171" y="5225680"/>
                <a:ext cx="608500" cy="3240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ЦП</a:t>
                </a:r>
              </a:p>
            </p:txBody>
          </p:sp>
          <p:sp>
            <p:nvSpPr>
              <p:cNvPr id="40" name="Прямоугольник 39">
                <a:extLst>
                  <a:ext uri="{FF2B5EF4-FFF2-40B4-BE49-F238E27FC236}">
                    <a16:creationId xmlns:a16="http://schemas.microsoft.com/office/drawing/2014/main" xmlns="" id="{53152217-807A-4E8A-BCA7-38F4D6E36C94}"/>
                  </a:ext>
                </a:extLst>
              </p:cNvPr>
              <p:cNvSpPr/>
              <p:nvPr/>
            </p:nvSpPr>
            <p:spPr bwMode="auto">
              <a:xfrm>
                <a:off x="1402203" y="5234729"/>
                <a:ext cx="693160" cy="3240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dirty="0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ЦДТВ</a:t>
                </a:r>
              </a:p>
            </p:txBody>
          </p:sp>
          <p:sp>
            <p:nvSpPr>
              <p:cNvPr id="41" name="Прямоугольник 40">
                <a:extLst>
                  <a:ext uri="{FF2B5EF4-FFF2-40B4-BE49-F238E27FC236}">
                    <a16:creationId xmlns:a16="http://schemas.microsoft.com/office/drawing/2014/main" xmlns="" id="{BC4A318A-2311-49E2-ABED-66CF75CA73DD}"/>
                  </a:ext>
                </a:extLst>
              </p:cNvPr>
              <p:cNvSpPr/>
              <p:nvPr/>
            </p:nvSpPr>
            <p:spPr bwMode="auto">
              <a:xfrm>
                <a:off x="5994913" y="5225680"/>
                <a:ext cx="699934" cy="3240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>
                    <a:solidFill>
                      <a:schemeClr val="bg1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ЦМ</a:t>
                </a:r>
                <a:endParaRPr lang="ru-RU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xmlns="" id="{C3248648-10AD-4450-875B-419E1C8AA5C9}"/>
                </a:ext>
              </a:extLst>
            </p:cNvPr>
            <p:cNvSpPr/>
            <p:nvPr/>
          </p:nvSpPr>
          <p:spPr bwMode="auto">
            <a:xfrm>
              <a:off x="6266385" y="3434400"/>
              <a:ext cx="5400600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b="1" dirty="0">
                  <a:solidFill>
                    <a:srgbClr val="465267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Виртуальные классы по хозяйствам</a:t>
              </a:r>
            </a:p>
          </p:txBody>
        </p:sp>
      </p:grp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A20E562E-7168-4809-A1BC-2CB7680560C9}"/>
              </a:ext>
            </a:extLst>
          </p:cNvPr>
          <p:cNvSpPr/>
          <p:nvPr/>
        </p:nvSpPr>
        <p:spPr>
          <a:xfrm>
            <a:off x="1398" y="4050535"/>
            <a:ext cx="12192000" cy="42805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Title 2">
            <a:extLst>
              <a:ext uri="{FF2B5EF4-FFF2-40B4-BE49-F238E27FC236}">
                <a16:creationId xmlns:a16="http://schemas.microsoft.com/office/drawing/2014/main" xmlns="" id="{B7D47FD9-8C85-4383-87C0-394F380BB009}"/>
              </a:ext>
            </a:extLst>
          </p:cNvPr>
          <p:cNvSpPr txBox="1">
            <a:spLocks/>
          </p:cNvSpPr>
          <p:nvPr/>
        </p:nvSpPr>
        <p:spPr>
          <a:xfrm>
            <a:off x="896876" y="4118085"/>
            <a:ext cx="4754243" cy="293593"/>
          </a:xfrm>
          <a:prstGeom prst="rect">
            <a:avLst/>
          </a:prstGeom>
        </p:spPr>
        <p:txBody>
          <a:bodyPr lIns="121917" tIns="60958" rIns="121917" bIns="60958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ВИРТУАЛЬНЫЕ КЛАССЫ ПО ХОЗЯЙСТВАМ</a:t>
            </a:r>
            <a:endParaRPr lang="ru-RU" sz="1400" b="1" dirty="0">
              <a:solidFill>
                <a:srgbClr val="465267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7024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0" y="1428183"/>
            <a:ext cx="12192000" cy="5160884"/>
            <a:chOff x="0" y="1722469"/>
            <a:chExt cx="12192000" cy="5160884"/>
          </a:xfrm>
        </p:grpSpPr>
        <p:sp>
          <p:nvSpPr>
            <p:cNvPr id="17" name="Прямоугольник 16">
              <a:extLst>
                <a:ext uri="{FF2B5EF4-FFF2-40B4-BE49-F238E27FC236}">
                  <a16:creationId xmlns="" xmlns:a16="http://schemas.microsoft.com/office/drawing/2014/main" id="{113E34AD-5140-4518-B366-57FF733B6ED2}"/>
                </a:ext>
              </a:extLst>
            </p:cNvPr>
            <p:cNvSpPr/>
            <p:nvPr/>
          </p:nvSpPr>
          <p:spPr>
            <a:xfrm>
              <a:off x="0" y="5450469"/>
              <a:ext cx="12192000" cy="738660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121917" tIns="60958" rIns="121917" bIns="60958">
              <a:spAutoFit/>
            </a:bodyPr>
            <a:lstStyle/>
            <a:p>
              <a:pPr marL="609585" indent="-609585" algn="ctr">
                <a:lnSpc>
                  <a:spcPts val="1600"/>
                </a:lnSpc>
              </a:pPr>
              <a:endParaRPr lang="ru-RU" sz="1100" b="1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</a:endParaRPr>
            </a:p>
            <a:p>
              <a:pPr marL="609585" indent="-609585" algn="ctr">
                <a:lnSpc>
                  <a:spcPts val="1600"/>
                </a:lnSpc>
              </a:pPr>
              <a:r>
                <a:rPr lang="ru-RU" sz="1100" b="1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</a:rPr>
                <a:t>ИНФОРМАЦИОННО-ОБРАЗОВАТЕЛЬНАЯ СРЕДА (ИОС) – </a:t>
              </a:r>
              <a:r>
                <a:rPr lang="en-US" sz="1100" b="1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</a:rPr>
                <a:t>IT</a:t>
              </a:r>
              <a:r>
                <a:rPr lang="ru-RU" sz="1100" b="1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</a:rPr>
                <a:t>-ПРОДУКТ ДЛЯ СОЗДАНИЯ ОЦЕНОЧНЫХ СЕССИЙ</a:t>
              </a:r>
              <a:endParaRPr lang="en-US" sz="1100" b="1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</a:endParaRPr>
            </a:p>
            <a:p>
              <a:pPr marL="609585" indent="-609585" algn="ctr">
                <a:lnSpc>
                  <a:spcPts val="1600"/>
                </a:lnSpc>
              </a:pPr>
              <a:endParaRPr lang="ru-RU" sz="1100" dirty="0" smtClean="0">
                <a:latin typeface="Verdana" pitchFamily="34" charset="0"/>
                <a:ea typeface="Verdana" pitchFamily="34" charset="0"/>
              </a:endParaRPr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xmlns="" id="{B7691714-C7F7-4150-8328-A9234AAFBABC}"/>
                </a:ext>
              </a:extLst>
            </p:cNvPr>
            <p:cNvSpPr/>
            <p:nvPr/>
          </p:nvSpPr>
          <p:spPr>
            <a:xfrm>
              <a:off x="1046206" y="6472665"/>
              <a:ext cx="10247870" cy="410688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r>
                <a:rPr lang="ru-RU" sz="1600" b="1" dirty="0" smtClean="0">
                  <a:solidFill>
                    <a:srgbClr val="193598"/>
                  </a:solidFill>
                  <a:latin typeface="Verdana" pitchFamily="34" charset="0"/>
                  <a:ea typeface="Verdana" pitchFamily="34" charset="0"/>
                </a:rPr>
                <a:t>ИЗУЧЕНИЕ ВОПРОСОВ ОХРАНЫ ТРУДА ПРИ ТЕХНИЧЕСКОЙ УЧЕБЕ </a:t>
              </a:r>
              <a:endParaRPr lang="ru-RU" sz="1600" b="1" dirty="0">
                <a:solidFill>
                  <a:srgbClr val="193598"/>
                </a:solidFill>
                <a:latin typeface="Verdana" pitchFamily="34" charset="0"/>
                <a:ea typeface="Verdana" pitchFamily="34" charset="0"/>
              </a:endParaRPr>
            </a:p>
          </p:txBody>
        </p:sp>
        <p:grpSp>
          <p:nvGrpSpPr>
            <p:cNvPr id="9" name="Группа 64"/>
            <p:cNvGrpSpPr/>
            <p:nvPr/>
          </p:nvGrpSpPr>
          <p:grpSpPr>
            <a:xfrm>
              <a:off x="5985935" y="2653039"/>
              <a:ext cx="5545667" cy="2743201"/>
              <a:chOff x="1779761" y="1434305"/>
              <a:chExt cx="5364857" cy="2460179"/>
            </a:xfrm>
          </p:grpSpPr>
          <p:sp>
            <p:nvSpPr>
              <p:cNvPr id="21" name="Freeform 2"/>
              <p:cNvSpPr/>
              <p:nvPr/>
            </p:nvSpPr>
            <p:spPr>
              <a:xfrm>
                <a:off x="4819416" y="1440653"/>
                <a:ext cx="2308737" cy="1170769"/>
              </a:xfrm>
              <a:custGeom>
                <a:avLst/>
                <a:gdLst>
                  <a:gd name="connsiteX0" fmla="*/ 0 w 1631188"/>
                  <a:gd name="connsiteY0" fmla="*/ 105664 h 1056640"/>
                  <a:gd name="connsiteX1" fmla="*/ 105664 w 1631188"/>
                  <a:gd name="connsiteY1" fmla="*/ 0 h 1056640"/>
                  <a:gd name="connsiteX2" fmla="*/ 1525524 w 1631188"/>
                  <a:gd name="connsiteY2" fmla="*/ 0 h 1056640"/>
                  <a:gd name="connsiteX3" fmla="*/ 1631188 w 1631188"/>
                  <a:gd name="connsiteY3" fmla="*/ 105664 h 1056640"/>
                  <a:gd name="connsiteX4" fmla="*/ 1631188 w 1631188"/>
                  <a:gd name="connsiteY4" fmla="*/ 950976 h 1056640"/>
                  <a:gd name="connsiteX5" fmla="*/ 1525524 w 1631188"/>
                  <a:gd name="connsiteY5" fmla="*/ 1056640 h 1056640"/>
                  <a:gd name="connsiteX6" fmla="*/ 105664 w 1631188"/>
                  <a:gd name="connsiteY6" fmla="*/ 1056640 h 1056640"/>
                  <a:gd name="connsiteX7" fmla="*/ 0 w 1631188"/>
                  <a:gd name="connsiteY7" fmla="*/ 950976 h 1056640"/>
                  <a:gd name="connsiteX8" fmla="*/ 0 w 1631188"/>
                  <a:gd name="connsiteY8" fmla="*/ 105664 h 1056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1188" h="1056640">
                    <a:moveTo>
                      <a:pt x="0" y="105664"/>
                    </a:moveTo>
                    <a:cubicBezTo>
                      <a:pt x="0" y="47307"/>
                      <a:pt x="47307" y="0"/>
                      <a:pt x="105664" y="0"/>
                    </a:cubicBezTo>
                    <a:lnTo>
                      <a:pt x="1525524" y="0"/>
                    </a:lnTo>
                    <a:cubicBezTo>
                      <a:pt x="1583881" y="0"/>
                      <a:pt x="1631188" y="47307"/>
                      <a:pt x="1631188" y="105664"/>
                    </a:cubicBezTo>
                    <a:lnTo>
                      <a:pt x="1631188" y="950976"/>
                    </a:lnTo>
                    <a:cubicBezTo>
                      <a:pt x="1631188" y="1009333"/>
                      <a:pt x="1583881" y="1056640"/>
                      <a:pt x="1525524" y="1056640"/>
                    </a:cubicBezTo>
                    <a:lnTo>
                      <a:pt x="105664" y="1056640"/>
                    </a:lnTo>
                    <a:cubicBezTo>
                      <a:pt x="47307" y="1056640"/>
                      <a:pt x="0" y="1009333"/>
                      <a:pt x="0" y="950976"/>
                    </a:cubicBezTo>
                    <a:lnTo>
                      <a:pt x="0" y="105664"/>
                    </a:lnTo>
                    <a:close/>
                  </a:path>
                </a:pathLst>
              </a:custGeom>
              <a:noFill/>
              <a:ln w="25400">
                <a:solidFill>
                  <a:srgbClr val="C40000"/>
                </a:solidFill>
              </a:ln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15437" tIns="126081" rIns="126082" bIns="390241" numCol="1" spcCol="953" anchor="t" anchorCtr="0">
                <a:noAutofit/>
              </a:bodyPr>
              <a:lstStyle/>
              <a:p>
                <a:pPr marL="304784" lvl="1" indent="-304784" defTabSz="1244538">
                  <a:lnSpc>
                    <a:spcPct val="90000"/>
                  </a:lnSpc>
                  <a:spcAft>
                    <a:spcPct val="15000"/>
                  </a:spcAft>
                  <a:buChar char="••"/>
                </a:pPr>
                <a:endParaRPr lang="id-ID" sz="2800" dirty="0"/>
              </a:p>
            </p:txBody>
          </p:sp>
          <p:sp>
            <p:nvSpPr>
              <p:cNvPr id="22" name="Freeform 3"/>
              <p:cNvSpPr/>
              <p:nvPr/>
            </p:nvSpPr>
            <p:spPr>
              <a:xfrm>
                <a:off x="4825766" y="2736661"/>
                <a:ext cx="2318852" cy="1051929"/>
              </a:xfrm>
              <a:custGeom>
                <a:avLst/>
                <a:gdLst>
                  <a:gd name="connsiteX0" fmla="*/ 0 w 1631188"/>
                  <a:gd name="connsiteY0" fmla="*/ 105664 h 1056640"/>
                  <a:gd name="connsiteX1" fmla="*/ 105664 w 1631188"/>
                  <a:gd name="connsiteY1" fmla="*/ 0 h 1056640"/>
                  <a:gd name="connsiteX2" fmla="*/ 1525524 w 1631188"/>
                  <a:gd name="connsiteY2" fmla="*/ 0 h 1056640"/>
                  <a:gd name="connsiteX3" fmla="*/ 1631188 w 1631188"/>
                  <a:gd name="connsiteY3" fmla="*/ 105664 h 1056640"/>
                  <a:gd name="connsiteX4" fmla="*/ 1631188 w 1631188"/>
                  <a:gd name="connsiteY4" fmla="*/ 950976 h 1056640"/>
                  <a:gd name="connsiteX5" fmla="*/ 1525524 w 1631188"/>
                  <a:gd name="connsiteY5" fmla="*/ 1056640 h 1056640"/>
                  <a:gd name="connsiteX6" fmla="*/ 105664 w 1631188"/>
                  <a:gd name="connsiteY6" fmla="*/ 1056640 h 1056640"/>
                  <a:gd name="connsiteX7" fmla="*/ 0 w 1631188"/>
                  <a:gd name="connsiteY7" fmla="*/ 950976 h 1056640"/>
                  <a:gd name="connsiteX8" fmla="*/ 0 w 1631188"/>
                  <a:gd name="connsiteY8" fmla="*/ 105664 h 1056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1188" h="1056640">
                    <a:moveTo>
                      <a:pt x="0" y="105664"/>
                    </a:moveTo>
                    <a:cubicBezTo>
                      <a:pt x="0" y="47307"/>
                      <a:pt x="47307" y="0"/>
                      <a:pt x="105664" y="0"/>
                    </a:cubicBezTo>
                    <a:lnTo>
                      <a:pt x="1525524" y="0"/>
                    </a:lnTo>
                    <a:cubicBezTo>
                      <a:pt x="1583881" y="0"/>
                      <a:pt x="1631188" y="47307"/>
                      <a:pt x="1631188" y="105664"/>
                    </a:cubicBezTo>
                    <a:lnTo>
                      <a:pt x="1631188" y="950976"/>
                    </a:lnTo>
                    <a:cubicBezTo>
                      <a:pt x="1631188" y="1009333"/>
                      <a:pt x="1583881" y="1056640"/>
                      <a:pt x="1525524" y="1056640"/>
                    </a:cubicBezTo>
                    <a:lnTo>
                      <a:pt x="105664" y="1056640"/>
                    </a:lnTo>
                    <a:cubicBezTo>
                      <a:pt x="47307" y="1056640"/>
                      <a:pt x="0" y="1009333"/>
                      <a:pt x="0" y="950976"/>
                    </a:cubicBezTo>
                    <a:lnTo>
                      <a:pt x="0" y="105664"/>
                    </a:lnTo>
                    <a:close/>
                  </a:path>
                </a:pathLst>
              </a:custGeom>
              <a:noFill/>
              <a:ln w="25400">
                <a:solidFill>
                  <a:srgbClr val="0747B1"/>
                </a:solidFill>
              </a:ln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15437" tIns="390241" rIns="126082" bIns="126081" numCol="1" spcCol="953" anchor="t" anchorCtr="0">
                <a:noAutofit/>
              </a:bodyPr>
              <a:lstStyle/>
              <a:p>
                <a:pPr marL="304784" lvl="1" indent="-304784" defTabSz="1244538">
                  <a:lnSpc>
                    <a:spcPct val="90000"/>
                  </a:lnSpc>
                  <a:spcAft>
                    <a:spcPct val="15000"/>
                  </a:spcAft>
                  <a:buChar char="••"/>
                </a:pPr>
                <a:endParaRPr lang="id-ID" sz="2800" dirty="0"/>
              </a:p>
            </p:txBody>
          </p:sp>
          <p:sp>
            <p:nvSpPr>
              <p:cNvPr id="23" name="Freeform 4"/>
              <p:cNvSpPr/>
              <p:nvPr/>
            </p:nvSpPr>
            <p:spPr>
              <a:xfrm>
                <a:off x="2015735" y="2762060"/>
                <a:ext cx="2219112" cy="1035213"/>
              </a:xfrm>
              <a:custGeom>
                <a:avLst/>
                <a:gdLst>
                  <a:gd name="connsiteX0" fmla="*/ 0 w 1631188"/>
                  <a:gd name="connsiteY0" fmla="*/ 105664 h 1056640"/>
                  <a:gd name="connsiteX1" fmla="*/ 105664 w 1631188"/>
                  <a:gd name="connsiteY1" fmla="*/ 0 h 1056640"/>
                  <a:gd name="connsiteX2" fmla="*/ 1525524 w 1631188"/>
                  <a:gd name="connsiteY2" fmla="*/ 0 h 1056640"/>
                  <a:gd name="connsiteX3" fmla="*/ 1631188 w 1631188"/>
                  <a:gd name="connsiteY3" fmla="*/ 105664 h 1056640"/>
                  <a:gd name="connsiteX4" fmla="*/ 1631188 w 1631188"/>
                  <a:gd name="connsiteY4" fmla="*/ 950976 h 1056640"/>
                  <a:gd name="connsiteX5" fmla="*/ 1525524 w 1631188"/>
                  <a:gd name="connsiteY5" fmla="*/ 1056640 h 1056640"/>
                  <a:gd name="connsiteX6" fmla="*/ 105664 w 1631188"/>
                  <a:gd name="connsiteY6" fmla="*/ 1056640 h 1056640"/>
                  <a:gd name="connsiteX7" fmla="*/ 0 w 1631188"/>
                  <a:gd name="connsiteY7" fmla="*/ 950976 h 1056640"/>
                  <a:gd name="connsiteX8" fmla="*/ 0 w 1631188"/>
                  <a:gd name="connsiteY8" fmla="*/ 105664 h 1056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1188" h="1056640">
                    <a:moveTo>
                      <a:pt x="0" y="105664"/>
                    </a:moveTo>
                    <a:cubicBezTo>
                      <a:pt x="0" y="47307"/>
                      <a:pt x="47307" y="0"/>
                      <a:pt x="105664" y="0"/>
                    </a:cubicBezTo>
                    <a:lnTo>
                      <a:pt x="1525524" y="0"/>
                    </a:lnTo>
                    <a:cubicBezTo>
                      <a:pt x="1583881" y="0"/>
                      <a:pt x="1631188" y="47307"/>
                      <a:pt x="1631188" y="105664"/>
                    </a:cubicBezTo>
                    <a:lnTo>
                      <a:pt x="1631188" y="950976"/>
                    </a:lnTo>
                    <a:cubicBezTo>
                      <a:pt x="1631188" y="1009333"/>
                      <a:pt x="1583881" y="1056640"/>
                      <a:pt x="1525524" y="1056640"/>
                    </a:cubicBezTo>
                    <a:lnTo>
                      <a:pt x="105664" y="1056640"/>
                    </a:lnTo>
                    <a:cubicBezTo>
                      <a:pt x="47307" y="1056640"/>
                      <a:pt x="0" y="1009333"/>
                      <a:pt x="0" y="950976"/>
                    </a:cubicBezTo>
                    <a:lnTo>
                      <a:pt x="0" y="105664"/>
                    </a:lnTo>
                    <a:close/>
                  </a:path>
                </a:pathLst>
              </a:custGeom>
              <a:noFill/>
              <a:ln w="25400">
                <a:solidFill>
                  <a:srgbClr val="C40000"/>
                </a:solidFill>
              </a:ln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26081" tIns="390241" rIns="615438" bIns="126081" numCol="1" spcCol="953" anchor="t" anchorCtr="0">
                <a:noAutofit/>
              </a:bodyPr>
              <a:lstStyle/>
              <a:p>
                <a:pPr marL="304784" lvl="1" indent="-304784" defTabSz="1244538">
                  <a:lnSpc>
                    <a:spcPct val="90000"/>
                  </a:lnSpc>
                  <a:spcAft>
                    <a:spcPct val="15000"/>
                  </a:spcAft>
                  <a:buChar char="••"/>
                </a:pPr>
                <a:endParaRPr lang="id-ID" sz="2800" dirty="0"/>
              </a:p>
            </p:txBody>
          </p:sp>
          <p:sp>
            <p:nvSpPr>
              <p:cNvPr id="24" name="Freeform 5"/>
              <p:cNvSpPr/>
              <p:nvPr/>
            </p:nvSpPr>
            <p:spPr>
              <a:xfrm>
                <a:off x="2040432" y="1434305"/>
                <a:ext cx="2194411" cy="1196440"/>
              </a:xfrm>
              <a:custGeom>
                <a:avLst/>
                <a:gdLst>
                  <a:gd name="connsiteX0" fmla="*/ 0 w 1631188"/>
                  <a:gd name="connsiteY0" fmla="*/ 105664 h 1056640"/>
                  <a:gd name="connsiteX1" fmla="*/ 105664 w 1631188"/>
                  <a:gd name="connsiteY1" fmla="*/ 0 h 1056640"/>
                  <a:gd name="connsiteX2" fmla="*/ 1525524 w 1631188"/>
                  <a:gd name="connsiteY2" fmla="*/ 0 h 1056640"/>
                  <a:gd name="connsiteX3" fmla="*/ 1631188 w 1631188"/>
                  <a:gd name="connsiteY3" fmla="*/ 105664 h 1056640"/>
                  <a:gd name="connsiteX4" fmla="*/ 1631188 w 1631188"/>
                  <a:gd name="connsiteY4" fmla="*/ 950976 h 1056640"/>
                  <a:gd name="connsiteX5" fmla="*/ 1525524 w 1631188"/>
                  <a:gd name="connsiteY5" fmla="*/ 1056640 h 1056640"/>
                  <a:gd name="connsiteX6" fmla="*/ 105664 w 1631188"/>
                  <a:gd name="connsiteY6" fmla="*/ 1056640 h 1056640"/>
                  <a:gd name="connsiteX7" fmla="*/ 0 w 1631188"/>
                  <a:gd name="connsiteY7" fmla="*/ 950976 h 1056640"/>
                  <a:gd name="connsiteX8" fmla="*/ 0 w 1631188"/>
                  <a:gd name="connsiteY8" fmla="*/ 105664 h 1056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31188" h="1056640">
                    <a:moveTo>
                      <a:pt x="0" y="105664"/>
                    </a:moveTo>
                    <a:cubicBezTo>
                      <a:pt x="0" y="47307"/>
                      <a:pt x="47307" y="0"/>
                      <a:pt x="105664" y="0"/>
                    </a:cubicBezTo>
                    <a:lnTo>
                      <a:pt x="1525524" y="0"/>
                    </a:lnTo>
                    <a:cubicBezTo>
                      <a:pt x="1583881" y="0"/>
                      <a:pt x="1631188" y="47307"/>
                      <a:pt x="1631188" y="105664"/>
                    </a:cubicBezTo>
                    <a:lnTo>
                      <a:pt x="1631188" y="950976"/>
                    </a:lnTo>
                    <a:cubicBezTo>
                      <a:pt x="1631188" y="1009333"/>
                      <a:pt x="1583881" y="1056640"/>
                      <a:pt x="1525524" y="1056640"/>
                    </a:cubicBezTo>
                    <a:lnTo>
                      <a:pt x="105664" y="1056640"/>
                    </a:lnTo>
                    <a:cubicBezTo>
                      <a:pt x="47307" y="1056640"/>
                      <a:pt x="0" y="1009333"/>
                      <a:pt x="0" y="950976"/>
                    </a:cubicBezTo>
                    <a:lnTo>
                      <a:pt x="0" y="105664"/>
                    </a:lnTo>
                    <a:close/>
                  </a:path>
                </a:pathLst>
              </a:custGeom>
              <a:noFill/>
              <a:ln w="25400">
                <a:solidFill>
                  <a:srgbClr val="0747B1"/>
                </a:solidFill>
              </a:ln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26081" tIns="126081" rIns="615438" bIns="390241" numCol="1" spcCol="953" anchor="t" anchorCtr="0">
                <a:noAutofit/>
              </a:bodyPr>
              <a:lstStyle/>
              <a:p>
                <a:pPr marL="304784" lvl="1" indent="-304784" defTabSz="1244538">
                  <a:lnSpc>
                    <a:spcPct val="90000"/>
                  </a:lnSpc>
                  <a:spcAft>
                    <a:spcPct val="15000"/>
                  </a:spcAft>
                  <a:buChar char="••"/>
                </a:pPr>
                <a:endParaRPr lang="id-ID" sz="2800" dirty="0"/>
              </a:p>
            </p:txBody>
          </p:sp>
          <p:sp>
            <p:nvSpPr>
              <p:cNvPr id="25" name="Freeform 6"/>
              <p:cNvSpPr/>
              <p:nvPr/>
            </p:nvSpPr>
            <p:spPr>
              <a:xfrm>
                <a:off x="3346476" y="1496343"/>
                <a:ext cx="1194347" cy="1194347"/>
              </a:xfrm>
              <a:custGeom>
                <a:avLst/>
                <a:gdLst>
                  <a:gd name="connsiteX0" fmla="*/ 0 w 1429766"/>
                  <a:gd name="connsiteY0" fmla="*/ 1429766 h 1429766"/>
                  <a:gd name="connsiteX1" fmla="*/ 1429766 w 1429766"/>
                  <a:gd name="connsiteY1" fmla="*/ 0 h 1429766"/>
                  <a:gd name="connsiteX2" fmla="*/ 1429766 w 1429766"/>
                  <a:gd name="connsiteY2" fmla="*/ 1429766 h 1429766"/>
                  <a:gd name="connsiteX3" fmla="*/ 0 w 1429766"/>
                  <a:gd name="connsiteY3" fmla="*/ 1429766 h 1429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9766" h="1429766">
                    <a:moveTo>
                      <a:pt x="0" y="1429766"/>
                    </a:moveTo>
                    <a:cubicBezTo>
                      <a:pt x="0" y="640128"/>
                      <a:pt x="640128" y="0"/>
                      <a:pt x="1429766" y="0"/>
                    </a:cubicBezTo>
                    <a:lnTo>
                      <a:pt x="1429766" y="1429766"/>
                    </a:lnTo>
                    <a:lnTo>
                      <a:pt x="0" y="1429766"/>
                    </a:lnTo>
                    <a:close/>
                  </a:path>
                </a:pathLst>
              </a:custGeom>
              <a:solidFill>
                <a:srgbClr val="0747B1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575233" tIns="575233" rIns="156464" bIns="156464" numCol="1" spcCol="953" anchor="ctr" anchorCtr="0">
                <a:noAutofit/>
              </a:bodyPr>
              <a:lstStyle/>
              <a:p>
                <a:pPr algn="ctr" defTabSz="1303802">
                  <a:lnSpc>
                    <a:spcPct val="90000"/>
                  </a:lnSpc>
                  <a:spcAft>
                    <a:spcPct val="35000"/>
                  </a:spcAft>
                </a:pPr>
                <a:endParaRPr lang="id-ID" sz="2900" dirty="0"/>
              </a:p>
            </p:txBody>
          </p:sp>
          <p:sp>
            <p:nvSpPr>
              <p:cNvPr id="26" name="Freeform 7"/>
              <p:cNvSpPr/>
              <p:nvPr/>
            </p:nvSpPr>
            <p:spPr>
              <a:xfrm>
                <a:off x="4550269" y="1496343"/>
                <a:ext cx="1194347" cy="1194347"/>
              </a:xfrm>
              <a:custGeom>
                <a:avLst/>
                <a:gdLst>
                  <a:gd name="connsiteX0" fmla="*/ 0 w 1429766"/>
                  <a:gd name="connsiteY0" fmla="*/ 1429766 h 1429766"/>
                  <a:gd name="connsiteX1" fmla="*/ 1429766 w 1429766"/>
                  <a:gd name="connsiteY1" fmla="*/ 0 h 1429766"/>
                  <a:gd name="connsiteX2" fmla="*/ 1429766 w 1429766"/>
                  <a:gd name="connsiteY2" fmla="*/ 1429766 h 1429766"/>
                  <a:gd name="connsiteX3" fmla="*/ 0 w 1429766"/>
                  <a:gd name="connsiteY3" fmla="*/ 1429766 h 1429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9766" h="1429766">
                    <a:moveTo>
                      <a:pt x="0" y="0"/>
                    </a:moveTo>
                    <a:cubicBezTo>
                      <a:pt x="789638" y="0"/>
                      <a:pt x="1429766" y="640128"/>
                      <a:pt x="1429766" y="1429766"/>
                    </a:cubicBezTo>
                    <a:lnTo>
                      <a:pt x="0" y="142976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40000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56464" tIns="575233" rIns="575233" bIns="156464" numCol="1" spcCol="953" anchor="ctr" anchorCtr="0">
                <a:noAutofit/>
              </a:bodyPr>
              <a:lstStyle/>
              <a:p>
                <a:pPr algn="ctr" defTabSz="1303802">
                  <a:lnSpc>
                    <a:spcPct val="90000"/>
                  </a:lnSpc>
                  <a:spcAft>
                    <a:spcPct val="35000"/>
                  </a:spcAft>
                </a:pPr>
                <a:endParaRPr lang="id-ID" sz="2900" dirty="0"/>
              </a:p>
            </p:txBody>
          </p:sp>
          <p:sp>
            <p:nvSpPr>
              <p:cNvPr id="27" name="Freeform 8"/>
              <p:cNvSpPr/>
              <p:nvPr/>
            </p:nvSpPr>
            <p:spPr>
              <a:xfrm>
                <a:off x="4550269" y="2700135"/>
                <a:ext cx="1194348" cy="1194348"/>
              </a:xfrm>
              <a:custGeom>
                <a:avLst/>
                <a:gdLst>
                  <a:gd name="connsiteX0" fmla="*/ 0 w 1429766"/>
                  <a:gd name="connsiteY0" fmla="*/ 1429766 h 1429766"/>
                  <a:gd name="connsiteX1" fmla="*/ 1429766 w 1429766"/>
                  <a:gd name="connsiteY1" fmla="*/ 0 h 1429766"/>
                  <a:gd name="connsiteX2" fmla="*/ 1429766 w 1429766"/>
                  <a:gd name="connsiteY2" fmla="*/ 1429766 h 1429766"/>
                  <a:gd name="connsiteX3" fmla="*/ 0 w 1429766"/>
                  <a:gd name="connsiteY3" fmla="*/ 1429766 h 1429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9766" h="1429766">
                    <a:moveTo>
                      <a:pt x="1429766" y="0"/>
                    </a:moveTo>
                    <a:cubicBezTo>
                      <a:pt x="1429766" y="789638"/>
                      <a:pt x="789638" y="1429766"/>
                      <a:pt x="0" y="1429766"/>
                    </a:cubicBezTo>
                    <a:lnTo>
                      <a:pt x="0" y="0"/>
                    </a:lnTo>
                    <a:lnTo>
                      <a:pt x="1429766" y="0"/>
                    </a:lnTo>
                    <a:close/>
                  </a:path>
                </a:pathLst>
              </a:custGeom>
              <a:solidFill>
                <a:srgbClr val="0747B1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56464" tIns="156465" rIns="575234" bIns="575233" numCol="1" spcCol="953" anchor="ctr" anchorCtr="0">
                <a:noAutofit/>
              </a:bodyPr>
              <a:lstStyle/>
              <a:p>
                <a:pPr algn="ctr" defTabSz="1303802">
                  <a:lnSpc>
                    <a:spcPct val="90000"/>
                  </a:lnSpc>
                  <a:spcAft>
                    <a:spcPct val="35000"/>
                  </a:spcAft>
                </a:pPr>
                <a:endParaRPr lang="id-ID" sz="2900" dirty="0"/>
              </a:p>
            </p:txBody>
          </p:sp>
          <p:sp>
            <p:nvSpPr>
              <p:cNvPr id="28" name="Freeform 9"/>
              <p:cNvSpPr/>
              <p:nvPr/>
            </p:nvSpPr>
            <p:spPr>
              <a:xfrm>
                <a:off x="3346476" y="2700137"/>
                <a:ext cx="1194347" cy="1194347"/>
              </a:xfrm>
              <a:custGeom>
                <a:avLst/>
                <a:gdLst>
                  <a:gd name="connsiteX0" fmla="*/ 0 w 1429766"/>
                  <a:gd name="connsiteY0" fmla="*/ 1429766 h 1429766"/>
                  <a:gd name="connsiteX1" fmla="*/ 1429766 w 1429766"/>
                  <a:gd name="connsiteY1" fmla="*/ 0 h 1429766"/>
                  <a:gd name="connsiteX2" fmla="*/ 1429766 w 1429766"/>
                  <a:gd name="connsiteY2" fmla="*/ 1429766 h 1429766"/>
                  <a:gd name="connsiteX3" fmla="*/ 0 w 1429766"/>
                  <a:gd name="connsiteY3" fmla="*/ 1429766 h 1429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9766" h="1429766">
                    <a:moveTo>
                      <a:pt x="1429766" y="1429766"/>
                    </a:moveTo>
                    <a:cubicBezTo>
                      <a:pt x="640128" y="1429766"/>
                      <a:pt x="0" y="789638"/>
                      <a:pt x="0" y="0"/>
                    </a:cubicBezTo>
                    <a:lnTo>
                      <a:pt x="1429766" y="0"/>
                    </a:lnTo>
                    <a:lnTo>
                      <a:pt x="1429766" y="1429766"/>
                    </a:lnTo>
                    <a:close/>
                  </a:path>
                </a:pathLst>
              </a:custGeom>
              <a:solidFill>
                <a:srgbClr val="C40000"/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575233" tIns="156464" rIns="156464" bIns="575233" numCol="1" spcCol="953" anchor="ctr" anchorCtr="0">
                <a:noAutofit/>
              </a:bodyPr>
              <a:lstStyle/>
              <a:p>
                <a:pPr algn="ctr" defTabSz="1303802">
                  <a:lnSpc>
                    <a:spcPct val="90000"/>
                  </a:lnSpc>
                  <a:spcAft>
                    <a:spcPct val="35000"/>
                  </a:spcAft>
                </a:pPr>
                <a:endParaRPr lang="id-ID" sz="2900" dirty="0"/>
              </a:p>
            </p:txBody>
          </p:sp>
          <p:sp>
            <p:nvSpPr>
              <p:cNvPr id="29" name="Прямоугольник 28"/>
              <p:cNvSpPr/>
              <p:nvPr/>
            </p:nvSpPr>
            <p:spPr>
              <a:xfrm>
                <a:off x="1925315" y="1621949"/>
                <a:ext cx="1861768" cy="821167"/>
              </a:xfrm>
              <a:prstGeom prst="rect">
                <a:avLst/>
              </a:prstGeom>
            </p:spPr>
            <p:txBody>
              <a:bodyPr wrap="square" lIns="68580" tIns="34290" rIns="68580" bIns="34290">
                <a:spAutoFit/>
              </a:bodyPr>
              <a:lstStyle/>
              <a:p>
                <a:pPr lvl="0" algn="ctr"/>
                <a:r>
                  <a:rPr lang="ru-RU" sz="1100" b="1" dirty="0" smtClean="0">
                    <a:solidFill>
                      <a:srgbClr val="465267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ОЦЕНКА КАЧЕСТВА </a:t>
                </a:r>
                <a:r>
                  <a:rPr lang="ru-RU" sz="1100" dirty="0" smtClean="0">
                    <a:solidFill>
                      <a:srgbClr val="465267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ПОДГОТОВКИ </a:t>
                </a:r>
              </a:p>
              <a:p>
                <a:pPr lvl="0" algn="ctr"/>
                <a:r>
                  <a:rPr lang="ru-RU" sz="1100" dirty="0" smtClean="0">
                    <a:solidFill>
                      <a:srgbClr val="465267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УЧАСТНИКОВ </a:t>
                </a:r>
              </a:p>
              <a:p>
                <a:pPr lvl="0" algn="ctr"/>
                <a:r>
                  <a:rPr lang="ru-RU" sz="1100" dirty="0" smtClean="0">
                    <a:solidFill>
                      <a:srgbClr val="465267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В ОБЛАСТИ </a:t>
                </a:r>
              </a:p>
              <a:p>
                <a:pPr lvl="0" algn="ctr"/>
                <a:r>
                  <a:rPr lang="ru-RU" sz="1100" dirty="0" smtClean="0">
                    <a:solidFill>
                      <a:srgbClr val="465267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ОХРАНЫ ТРУДА</a:t>
                </a:r>
                <a:endParaRPr lang="ru-RU" sz="1100" dirty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30" name="Прямоугольник 29"/>
              <p:cNvSpPr/>
              <p:nvPr/>
            </p:nvSpPr>
            <p:spPr>
              <a:xfrm>
                <a:off x="5555133" y="1461004"/>
                <a:ext cx="1575809" cy="1124792"/>
              </a:xfrm>
              <a:prstGeom prst="rect">
                <a:avLst/>
              </a:prstGeom>
            </p:spPr>
            <p:txBody>
              <a:bodyPr wrap="square" lIns="68580" tIns="34290" rIns="68580" bIns="34290">
                <a:spAutoFit/>
              </a:bodyPr>
              <a:lstStyle/>
              <a:p>
                <a:pPr lvl="0" algn="ctr"/>
                <a:r>
                  <a:rPr lang="ru-RU" sz="1100" dirty="0" smtClean="0">
                    <a:solidFill>
                      <a:srgbClr val="465267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КОНСУЛЬТАЦИИ ПО ВНЕДРЕНИЮ </a:t>
                </a:r>
                <a:r>
                  <a:rPr lang="ru-RU" sz="1100" b="1" dirty="0" smtClean="0">
                    <a:solidFill>
                      <a:srgbClr val="465267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НОВЫХ ЭЛЕМЕНТОВ </a:t>
                </a:r>
                <a:r>
                  <a:rPr lang="ru-RU" sz="1100" dirty="0" smtClean="0">
                    <a:solidFill>
                      <a:srgbClr val="465267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СИСТЕМЫ УПРАВЛЕНИЯ </a:t>
                </a:r>
              </a:p>
              <a:p>
                <a:pPr lvl="0" algn="ctr"/>
                <a:r>
                  <a:rPr lang="ru-RU" sz="1100" dirty="0" smtClean="0">
                    <a:solidFill>
                      <a:srgbClr val="465267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ОХРАНЫ ТРУДА </a:t>
                </a:r>
              </a:p>
            </p:txBody>
          </p:sp>
          <p:sp>
            <p:nvSpPr>
              <p:cNvPr id="31" name="Прямоугольник 30"/>
              <p:cNvSpPr/>
              <p:nvPr/>
            </p:nvSpPr>
            <p:spPr>
              <a:xfrm>
                <a:off x="5584823" y="2918040"/>
                <a:ext cx="1559795" cy="821167"/>
              </a:xfrm>
              <a:prstGeom prst="rect">
                <a:avLst/>
              </a:prstGeom>
            </p:spPr>
            <p:txBody>
              <a:bodyPr wrap="square" lIns="68580" tIns="34290" rIns="68580" bIns="34290">
                <a:spAutoFit/>
              </a:bodyPr>
              <a:lstStyle/>
              <a:p>
                <a:pPr lvl="0" algn="ctr"/>
                <a:r>
                  <a:rPr lang="ru-RU" sz="1100" dirty="0" smtClean="0">
                    <a:solidFill>
                      <a:srgbClr val="465267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ОРГАНИЗАЦИЯ ВЗАИМОДЕЙСТВИЯ И </a:t>
                </a:r>
                <a:r>
                  <a:rPr lang="ru-RU" sz="1100" b="1" dirty="0" smtClean="0">
                    <a:solidFill>
                      <a:srgbClr val="465267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ОБМЕНА ЛУЧШИМИ ПРАКТИКАМИ</a:t>
                </a:r>
                <a:endParaRPr lang="ru-RU" sz="1100" dirty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32" name="Прямоугольник 31"/>
              <p:cNvSpPr/>
              <p:nvPr/>
            </p:nvSpPr>
            <p:spPr>
              <a:xfrm>
                <a:off x="1779761" y="2865911"/>
                <a:ext cx="1852639" cy="821167"/>
              </a:xfrm>
              <a:prstGeom prst="rect">
                <a:avLst/>
              </a:prstGeom>
            </p:spPr>
            <p:txBody>
              <a:bodyPr wrap="square" lIns="68580" tIns="34290" rIns="68580" bIns="34290">
                <a:spAutoFit/>
              </a:bodyPr>
              <a:lstStyle/>
              <a:p>
                <a:pPr lvl="0" algn="ctr"/>
                <a:r>
                  <a:rPr lang="ru-RU" sz="1100" dirty="0" smtClean="0">
                    <a:solidFill>
                      <a:srgbClr val="465267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ЗАКРЕПЛЕНИЕ ПРАКТИЧЕСКИХ НАВЫКОВ </a:t>
                </a:r>
                <a:r>
                  <a:rPr lang="ru-RU" sz="1100" b="1" dirty="0" smtClean="0">
                    <a:solidFill>
                      <a:srgbClr val="465267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БЕЗОПАСНЫХ ДЕЙСТВИЙ </a:t>
                </a:r>
              </a:p>
            </p:txBody>
          </p:sp>
          <p:pic>
            <p:nvPicPr>
              <p:cNvPr id="33" name="Рисунок 32"/>
              <p:cNvPicPr>
                <a:picLocks noChangeAspect="1"/>
              </p:cNvPicPr>
              <p:nvPr/>
            </p:nvPicPr>
            <p:blipFill>
              <a:blip r:embed="rId3" cstate="print">
                <a:lum bright="70000" contrast="-70000"/>
                <a:extLst>
                  <a:ext uri="{BEBA8EAE-BF5A-486C-A8C5-ECC9F3942E4B}">
                    <a14:imgProps xmlns:a14="http://schemas.microsoft.com/office/drawing/2010/main" xmlns="">
                      <a14:imgLayer r:embed="rId5">
                        <a14:imgEffect>
                          <a14:artisticPhotocopy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3711967" y="1938452"/>
                <a:ext cx="764266" cy="547464"/>
              </a:xfrm>
              <a:prstGeom prst="rect">
                <a:avLst/>
              </a:prstGeom>
            </p:spPr>
          </p:pic>
          <p:pic>
            <p:nvPicPr>
              <p:cNvPr id="34" name="Рисунок 33"/>
              <p:cNvPicPr>
                <a:picLocks noChangeAspect="1"/>
              </p:cNvPicPr>
              <p:nvPr/>
            </p:nvPicPr>
            <p:blipFill>
              <a:blip r:embed="rId6" cstate="print">
                <a:lum bright="70000" contrast="-70000"/>
                <a:extLst>
                  <a:ext uri="{BEBA8EAE-BF5A-486C-A8C5-ECC9F3942E4B}">
                    <a14:imgProps xmlns:a14="http://schemas.microsoft.com/office/drawing/2010/main" xmlns="">
                      <a14:imgLayer r:embed="rId7">
                        <a14:imgEffect>
                          <a14:artisticPhotocopy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741932" y="1859948"/>
                <a:ext cx="710158" cy="651789"/>
              </a:xfrm>
              <a:prstGeom prst="rect">
                <a:avLst/>
              </a:prstGeom>
            </p:spPr>
          </p:pic>
          <p:sp>
            <p:nvSpPr>
              <p:cNvPr id="35" name="Овал 34"/>
              <p:cNvSpPr/>
              <p:nvPr/>
            </p:nvSpPr>
            <p:spPr>
              <a:xfrm>
                <a:off x="4383546" y="2631584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80" tIns="34290" rIns="68580" bIns="34290"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36" name="Рисунок 35"/>
              <p:cNvPicPr>
                <a:picLocks noChangeAspect="1"/>
              </p:cNvPicPr>
              <p:nvPr/>
            </p:nvPicPr>
            <p:blipFill>
              <a:blip r:embed="rId8" cstate="print">
                <a:lum bright="70000" contrast="-70000"/>
                <a:extLst>
                  <a:ext uri="{BEBA8EAE-BF5A-486C-A8C5-ECC9F3942E4B}">
                    <a14:imgProps xmlns:a14="http://schemas.microsoft.com/office/drawing/2010/main" xmlns="">
                      <a14:imgLayer r:embed="rId9">
                        <a14:imgEffect>
                          <a14:artisticPhotocopy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3755387" y="2898634"/>
                <a:ext cx="568005" cy="635440"/>
              </a:xfrm>
              <a:prstGeom prst="rect">
                <a:avLst/>
              </a:prstGeom>
            </p:spPr>
          </p:pic>
          <p:pic>
            <p:nvPicPr>
              <p:cNvPr id="37" name="Рисунок 36"/>
              <p:cNvPicPr>
                <a:picLocks noChangeAspect="1"/>
              </p:cNvPicPr>
              <p:nvPr/>
            </p:nvPicPr>
            <p:blipFill>
              <a:blip r:embed="rId10" cstate="print">
                <a:lum bright="70000" contrast="-70000"/>
                <a:extLst>
                  <a:ext uri="{BEBA8EAE-BF5A-486C-A8C5-ECC9F3942E4B}">
                    <a14:imgProps xmlns:a14="http://schemas.microsoft.com/office/drawing/2010/main" xmlns="">
                      <a14:imgLayer r:embed="rId11">
                        <a14:imgEffect>
                          <a14:artisticPhotocopy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722571" y="2859540"/>
                <a:ext cx="728434" cy="743300"/>
              </a:xfrm>
              <a:prstGeom prst="rect">
                <a:avLst/>
              </a:prstGeom>
            </p:spPr>
          </p:pic>
        </p:grpSp>
        <p:sp>
          <p:nvSpPr>
            <p:cNvPr id="10" name="Прямоугольник 9">
              <a:extLst>
                <a:ext uri="{FF2B5EF4-FFF2-40B4-BE49-F238E27FC236}">
                  <a16:creationId xmlns="" xmlns:a16="http://schemas.microsoft.com/office/drawing/2014/main" id="{113E34AD-5140-4518-B366-57FF733B6ED2}"/>
                </a:ext>
              </a:extLst>
            </p:cNvPr>
            <p:cNvSpPr/>
            <p:nvPr/>
          </p:nvSpPr>
          <p:spPr>
            <a:xfrm>
              <a:off x="0" y="1722469"/>
              <a:ext cx="12192000" cy="533475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121917" tIns="60958" rIns="121917" bIns="60958">
              <a:spAutoFit/>
            </a:bodyPr>
            <a:lstStyle/>
            <a:p>
              <a:pPr marL="609585" indent="-609585" algn="ctr">
                <a:lnSpc>
                  <a:spcPts val="1600"/>
                </a:lnSpc>
              </a:pPr>
              <a:r>
                <a:rPr lang="ru-RU" sz="1100" b="1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ОЦЕНОЧНЫЕ СЕССИИ ПО ОХРАНЕ ТРУДА – СОВРЕМЕННЫЙ ФОРМАТ ОБУЧЕНИЯ В ОБЛАСТИ БЕЗОПАСНОСТИ ПРОИЗВОДСТВЕННЫХ ПРОЦЕССОВ</a:t>
              </a:r>
              <a:endParaRPr lang="ru-RU" sz="1100" dirty="0" smtClean="0">
                <a:latin typeface="Verdana" pitchFamily="34" charset="0"/>
                <a:ea typeface="Verdana" pitchFamily="34" charset="0"/>
              </a:endParaRPr>
            </a:p>
            <a:p>
              <a:pPr marL="609585" indent="-609585" algn="ctr">
                <a:lnSpc>
                  <a:spcPts val="1600"/>
                </a:lnSpc>
              </a:pPr>
              <a:r>
                <a:rPr lang="ru-RU" sz="1100" b="1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ЦЕЛЬ ОЦЕНОЧНОЙ СЕССИИ – ФОРМИРОВАНИЕ «БЕЗОПАСНОГО МЫШЛЕНИЯ» ДЛЯ «БЕЗОПАСНЫХ ДЕЙСТВИЙ»</a:t>
              </a:r>
              <a:endParaRPr lang="ru-RU" sz="1100" b="1" dirty="0">
                <a:solidFill>
                  <a:srgbClr val="465267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xmlns="" id="{05921CB4-AA81-45B7-9CD2-7D1A2E7F890F}"/>
                </a:ext>
              </a:extLst>
            </p:cNvPr>
            <p:cNvSpPr/>
            <p:nvPr/>
          </p:nvSpPr>
          <p:spPr>
            <a:xfrm>
              <a:off x="6604000" y="2362145"/>
              <a:ext cx="4732867" cy="276999"/>
            </a:xfrm>
            <a:prstGeom prst="rect">
              <a:avLst/>
            </a:prstGeom>
          </p:spPr>
          <p:txBody>
            <a:bodyPr wrap="square" lIns="91438" tIns="45719" rIns="91438" bIns="45719">
              <a:spAutoFit/>
            </a:bodyPr>
            <a:lstStyle/>
            <a:p>
              <a:r>
                <a:rPr lang="ru-RU" sz="1200" b="1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ЗАДАЧИ ОЦЕНОЧНОЙ СЕССИИ ПО ОХРАНЕ ТРУДА</a:t>
              </a:r>
              <a:endParaRPr lang="ru-RU" sz="1200" dirty="0">
                <a:latin typeface="Verdana" pitchFamily="34" charset="0"/>
                <a:ea typeface="Verdana" pitchFamily="34" charset="0"/>
              </a:endParaRP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05921CB4-AA81-45B7-9CD2-7D1A2E7F890F}"/>
                </a:ext>
              </a:extLst>
            </p:cNvPr>
            <p:cNvSpPr/>
            <p:nvPr/>
          </p:nvSpPr>
          <p:spPr>
            <a:xfrm>
              <a:off x="372533" y="2370383"/>
              <a:ext cx="5088467" cy="276999"/>
            </a:xfrm>
            <a:prstGeom prst="rect">
              <a:avLst/>
            </a:prstGeom>
          </p:spPr>
          <p:txBody>
            <a:bodyPr wrap="square" lIns="91438" tIns="45719" rIns="91438" bIns="45719">
              <a:spAutoFit/>
            </a:bodyPr>
            <a:lstStyle/>
            <a:p>
              <a:r>
                <a:rPr lang="ru-RU" sz="1200" b="1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НАПОЛНЕНИЕ ОЦЕНОЧНОЙ СЕССИИ ПО ОХРАНЕ ТРУДА</a:t>
              </a:r>
              <a:endParaRPr lang="ru-RU" sz="1200" dirty="0">
                <a:latin typeface="Verdana" pitchFamily="34" charset="0"/>
                <a:ea typeface="Verdana" pitchFamily="34" charset="0"/>
              </a:endParaRPr>
            </a:p>
          </p:txBody>
        </p:sp>
        <p:grpSp>
          <p:nvGrpSpPr>
            <p:cNvPr id="13" name="Группа 88">
              <a:extLst>
                <a:ext uri="{FF2B5EF4-FFF2-40B4-BE49-F238E27FC236}">
                  <a16:creationId xmlns="" xmlns:a16="http://schemas.microsoft.com/office/drawing/2014/main" id="{9CC75C97-16CA-4AB4-9230-9B68ADEED955}"/>
                </a:ext>
              </a:extLst>
            </p:cNvPr>
            <p:cNvGrpSpPr/>
            <p:nvPr/>
          </p:nvGrpSpPr>
          <p:grpSpPr>
            <a:xfrm>
              <a:off x="355997" y="3966974"/>
              <a:ext cx="2590403" cy="1301981"/>
              <a:chOff x="223411" y="737561"/>
              <a:chExt cx="3081518" cy="1582640"/>
            </a:xfrm>
          </p:grpSpPr>
          <p:pic>
            <p:nvPicPr>
              <p:cNvPr id="19" name="Picture 3">
                <a:extLst>
                  <a:ext uri="{FF2B5EF4-FFF2-40B4-BE49-F238E27FC236}">
                    <a16:creationId xmlns="" xmlns:a16="http://schemas.microsoft.com/office/drawing/2014/main" id="{620C6DB9-AC98-4B07-A0ED-9066690EFD0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280593" y="737561"/>
                <a:ext cx="3024336" cy="158264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0" name="Прямоугольник 19">
                <a:extLst>
                  <a:ext uri="{FF2B5EF4-FFF2-40B4-BE49-F238E27FC236}">
                    <a16:creationId xmlns="" xmlns:a16="http://schemas.microsoft.com/office/drawing/2014/main" id="{90372F6F-8F6E-44C2-8628-174E84FB8046}"/>
                  </a:ext>
                </a:extLst>
              </p:cNvPr>
              <p:cNvSpPr/>
              <p:nvPr/>
            </p:nvSpPr>
            <p:spPr>
              <a:xfrm>
                <a:off x="223411" y="747575"/>
                <a:ext cx="3024337" cy="114107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1219170">
                  <a:lnSpc>
                    <a:spcPts val="1067"/>
                  </a:lnSpc>
                  <a:defRPr/>
                </a:pPr>
                <a:r>
                  <a:rPr lang="ru-RU" sz="1500" kern="0" dirty="0">
                    <a:solidFill>
                      <a:prstClr val="white"/>
                    </a:solidFill>
                  </a:rPr>
                  <a:t>Кейс </a:t>
                </a:r>
                <a:endParaRPr lang="ru-RU" sz="1500" kern="0" dirty="0" smtClean="0">
                  <a:solidFill>
                    <a:prstClr val="white"/>
                  </a:solidFill>
                </a:endParaRPr>
              </a:p>
              <a:p>
                <a:pPr defTabSz="1219170">
                  <a:lnSpc>
                    <a:spcPts val="1067"/>
                  </a:lnSpc>
                  <a:defRPr/>
                </a:pPr>
                <a:endParaRPr lang="ru-RU" sz="1500" kern="0" dirty="0">
                  <a:solidFill>
                    <a:prstClr val="white"/>
                  </a:solidFill>
                </a:endParaRPr>
              </a:p>
              <a:p>
                <a:pPr defTabSz="1219170">
                  <a:lnSpc>
                    <a:spcPts val="1067"/>
                  </a:lnSpc>
                  <a:defRPr/>
                </a:pPr>
                <a:r>
                  <a:rPr lang="ru-RU" sz="1500" kern="0" dirty="0">
                    <a:solidFill>
                      <a:prstClr val="white"/>
                    </a:solidFill>
                  </a:rPr>
                  <a:t>Причина несчастного случая произошедшего в эксплуатационном вагонном депо </a:t>
                </a:r>
              </a:p>
            </p:txBody>
          </p:sp>
        </p:grpSp>
        <p:pic>
          <p:nvPicPr>
            <p:cNvPr id="15" name="Рисунок 12" descr="Безымянный.jpg">
              <a:extLst>
                <a:ext uri="{FF2B5EF4-FFF2-40B4-BE49-F238E27FC236}">
                  <a16:creationId xmlns="" xmlns:a16="http://schemas.microsoft.com/office/drawing/2014/main" id="{CE4662EA-29B2-40C0-BC81-E8DE37F4F0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155917" y="3941345"/>
              <a:ext cx="2316603" cy="12928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Title 2">
              <a:extLst>
                <a:ext uri="{FF2B5EF4-FFF2-40B4-BE49-F238E27FC236}">
                  <a16:creationId xmlns:a16="http://schemas.microsoft.com/office/drawing/2014/main" xmlns="" id="{E5252667-B53F-4450-8B18-9C877583F3F1}"/>
                </a:ext>
              </a:extLst>
            </p:cNvPr>
            <p:cNvSpPr txBox="1">
              <a:spLocks/>
            </p:cNvSpPr>
            <p:nvPr/>
          </p:nvSpPr>
          <p:spPr>
            <a:xfrm>
              <a:off x="491067" y="2592300"/>
              <a:ext cx="5003800" cy="1086121"/>
            </a:xfrm>
            <a:prstGeom prst="rect">
              <a:avLst/>
            </a:prstGeom>
          </p:spPr>
          <p:txBody>
            <a:bodyPr lIns="121914" tIns="60957" rIns="121914" bIns="60957" rtlCol="0">
              <a:noAutofit/>
            </a:bodyPr>
            <a:lstStyle/>
            <a:p>
              <a:pPr>
                <a:lnSpc>
                  <a:spcPts val="1467"/>
                </a:lnSpc>
                <a:buFont typeface="Wingdings" pitchFamily="2" charset="2"/>
                <a:buChar char="v"/>
              </a:pPr>
              <a:r>
                <a:rPr lang="ru-RU" sz="1100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ru-RU" sz="1300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Формирование идей по повышению безопасности</a:t>
              </a:r>
            </a:p>
            <a:p>
              <a:pPr>
                <a:lnSpc>
                  <a:spcPts val="1467"/>
                </a:lnSpc>
                <a:buFont typeface="Wingdings" pitchFamily="2" charset="2"/>
                <a:buChar char="v"/>
              </a:pPr>
              <a:r>
                <a:rPr lang="ru-RU" sz="1300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Обмен лучшими практиками</a:t>
              </a:r>
            </a:p>
            <a:p>
              <a:pPr>
                <a:lnSpc>
                  <a:spcPts val="1467"/>
                </a:lnSpc>
                <a:buFont typeface="Wingdings" pitchFamily="2" charset="2"/>
                <a:buChar char="v"/>
              </a:pPr>
              <a:r>
                <a:rPr lang="ru-RU" sz="1300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Обсуждение учебных фильмов</a:t>
              </a:r>
            </a:p>
            <a:p>
              <a:pPr>
                <a:lnSpc>
                  <a:spcPts val="1467"/>
                </a:lnSpc>
                <a:buFont typeface="Wingdings" pitchFamily="2" charset="2"/>
                <a:buChar char="v"/>
              </a:pPr>
              <a:r>
                <a:rPr lang="ru-RU" sz="1300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Деловая игра</a:t>
              </a:r>
            </a:p>
            <a:p>
              <a:pPr>
                <a:lnSpc>
                  <a:spcPts val="1467"/>
                </a:lnSpc>
                <a:buFont typeface="Wingdings" pitchFamily="2" charset="2"/>
                <a:buChar char="v"/>
              </a:pPr>
              <a:r>
                <a:rPr lang="ru-RU" sz="1300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Решение кейсов</a:t>
              </a:r>
            </a:p>
            <a:p>
              <a:pPr>
                <a:lnSpc>
                  <a:spcPts val="1467"/>
                </a:lnSpc>
                <a:buFont typeface="Wingdings" pitchFamily="2" charset="2"/>
                <a:buChar char="v"/>
              </a:pPr>
              <a:r>
                <a:rPr lang="ru-RU" sz="1300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Оценочные мероприятия</a:t>
              </a:r>
            </a:p>
            <a:p>
              <a:pPr>
                <a:lnSpc>
                  <a:spcPts val="1400"/>
                </a:lnSpc>
                <a:buFont typeface="Wingdings" pitchFamily="2" charset="2"/>
                <a:buChar char="v"/>
              </a:pPr>
              <a:endParaRPr lang="ru-RU" sz="1200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  <a:p>
              <a:pPr>
                <a:lnSpc>
                  <a:spcPts val="1400"/>
                </a:lnSpc>
              </a:pPr>
              <a:endParaRPr lang="ru-RU" sz="1100" dirty="0">
                <a:solidFill>
                  <a:srgbClr val="465267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pic>
          <p:nvPicPr>
            <p:cNvPr id="18" name="Picture 2" descr="https://avatars.mds.yandex.net/i?id=afd457e2cef15297f3c83263fcef1e01-5220060-images-thumbs&amp;ref=rim&amp;n=33&amp;w=162&amp;h=150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205738" y="5555702"/>
              <a:ext cx="598595" cy="554255"/>
            </a:xfrm>
            <a:prstGeom prst="rect">
              <a:avLst/>
            </a:prstGeom>
            <a:noFill/>
          </p:spPr>
        </p:pic>
      </p:grpSp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FE891A01-1469-D41F-830F-28E6FB70C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37" y="236936"/>
            <a:ext cx="8392255" cy="730418"/>
          </a:xfrm>
        </p:spPr>
        <p:txBody>
          <a:bodyPr>
            <a:normAutofit fontScale="90000"/>
          </a:bodyPr>
          <a:lstStyle/>
          <a:p>
            <a:r>
              <a:rPr lang="ru-RU" dirty="0"/>
              <a:t>/ </a:t>
            </a:r>
            <a:r>
              <a:rPr lang="ru-RU" dirty="0" smtClean="0"/>
              <a:t>ДОПОЛНИТЕЛЬНОЕ ОБУЧЕНИЕ ПО ОХРАНЕ ТРУДА</a:t>
            </a:r>
            <a:endParaRPr lang="ru-RU" dirty="0"/>
          </a:p>
        </p:txBody>
      </p:sp>
      <p:sp>
        <p:nvSpPr>
          <p:cNvPr id="40" name="Freeform 2"/>
          <p:cNvSpPr/>
          <p:nvPr/>
        </p:nvSpPr>
        <p:spPr>
          <a:xfrm>
            <a:off x="2125362" y="6145426"/>
            <a:ext cx="8007179" cy="489053"/>
          </a:xfrm>
          <a:custGeom>
            <a:avLst/>
            <a:gdLst>
              <a:gd name="connsiteX0" fmla="*/ 0 w 1631188"/>
              <a:gd name="connsiteY0" fmla="*/ 105664 h 1056640"/>
              <a:gd name="connsiteX1" fmla="*/ 105664 w 1631188"/>
              <a:gd name="connsiteY1" fmla="*/ 0 h 1056640"/>
              <a:gd name="connsiteX2" fmla="*/ 1525524 w 1631188"/>
              <a:gd name="connsiteY2" fmla="*/ 0 h 1056640"/>
              <a:gd name="connsiteX3" fmla="*/ 1631188 w 1631188"/>
              <a:gd name="connsiteY3" fmla="*/ 105664 h 1056640"/>
              <a:gd name="connsiteX4" fmla="*/ 1631188 w 1631188"/>
              <a:gd name="connsiteY4" fmla="*/ 950976 h 1056640"/>
              <a:gd name="connsiteX5" fmla="*/ 1525524 w 1631188"/>
              <a:gd name="connsiteY5" fmla="*/ 1056640 h 1056640"/>
              <a:gd name="connsiteX6" fmla="*/ 105664 w 1631188"/>
              <a:gd name="connsiteY6" fmla="*/ 1056640 h 1056640"/>
              <a:gd name="connsiteX7" fmla="*/ 0 w 1631188"/>
              <a:gd name="connsiteY7" fmla="*/ 950976 h 1056640"/>
              <a:gd name="connsiteX8" fmla="*/ 0 w 1631188"/>
              <a:gd name="connsiteY8" fmla="*/ 105664 h 1056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1188" h="1056640">
                <a:moveTo>
                  <a:pt x="0" y="105664"/>
                </a:moveTo>
                <a:cubicBezTo>
                  <a:pt x="0" y="47307"/>
                  <a:pt x="47307" y="0"/>
                  <a:pt x="105664" y="0"/>
                </a:cubicBezTo>
                <a:lnTo>
                  <a:pt x="1525524" y="0"/>
                </a:lnTo>
                <a:cubicBezTo>
                  <a:pt x="1583881" y="0"/>
                  <a:pt x="1631188" y="47307"/>
                  <a:pt x="1631188" y="105664"/>
                </a:cubicBezTo>
                <a:lnTo>
                  <a:pt x="1631188" y="950976"/>
                </a:lnTo>
                <a:cubicBezTo>
                  <a:pt x="1631188" y="1009333"/>
                  <a:pt x="1583881" y="1056640"/>
                  <a:pt x="1525524" y="1056640"/>
                </a:cubicBezTo>
                <a:lnTo>
                  <a:pt x="105664" y="1056640"/>
                </a:lnTo>
                <a:cubicBezTo>
                  <a:pt x="47307" y="1056640"/>
                  <a:pt x="0" y="1009333"/>
                  <a:pt x="0" y="950976"/>
                </a:cubicBezTo>
                <a:lnTo>
                  <a:pt x="0" y="105664"/>
                </a:lnTo>
                <a:close/>
              </a:path>
            </a:pathLst>
          </a:custGeom>
          <a:noFill/>
          <a:ln w="25400" cmpd="sng">
            <a:solidFill>
              <a:srgbClr val="006600"/>
            </a:solidFill>
            <a:prstDash val="solid"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5437" tIns="126081" rIns="126082" bIns="390241" numCol="1" spcCol="953" anchor="t" anchorCtr="0">
            <a:noAutofit/>
          </a:bodyPr>
          <a:lstStyle/>
          <a:p>
            <a:pPr marL="304784" lvl="1" indent="-304784" defTabSz="1244538">
              <a:lnSpc>
                <a:spcPct val="90000"/>
              </a:lnSpc>
              <a:spcAft>
                <a:spcPct val="15000"/>
              </a:spcAft>
              <a:buChar char="••"/>
            </a:pPr>
            <a:endParaRPr lang="id-ID" sz="2800" dirty="0"/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98854" y="6030097"/>
            <a:ext cx="11944865" cy="0"/>
          </a:xfrm>
          <a:prstGeom prst="line">
            <a:avLst/>
          </a:prstGeom>
          <a:ln w="28575">
            <a:solidFill>
              <a:srgbClr val="00507C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47024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:a16="http://schemas.microsoft.com/office/drawing/2014/main" xmlns="" id="{FE891A01-1469-D41F-830F-28E6FB70C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37" y="365126"/>
            <a:ext cx="7919551" cy="730418"/>
          </a:xfrm>
        </p:spPr>
        <p:txBody>
          <a:bodyPr>
            <a:normAutofit/>
          </a:bodyPr>
          <a:lstStyle/>
          <a:p>
            <a:r>
              <a:rPr lang="ru-RU" sz="3700" dirty="0"/>
              <a:t>/ </a:t>
            </a:r>
            <a:r>
              <a:rPr lang="ru-RU" sz="3700" dirty="0" smtClean="0"/>
              <a:t>РАБОТА В ЛКОТ</a:t>
            </a:r>
            <a:endParaRPr lang="ru-RU" sz="3700" dirty="0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6272799" y="2557903"/>
            <a:ext cx="280440" cy="213378"/>
          </a:xfrm>
          <a:prstGeom prst="rect">
            <a:avLst/>
          </a:prstGeom>
        </p:spPr>
      </p:pic>
      <p:sp>
        <p:nvSpPr>
          <p:cNvPr id="31" name="Прямоугольник 30"/>
          <p:cNvSpPr/>
          <p:nvPr/>
        </p:nvSpPr>
        <p:spPr>
          <a:xfrm>
            <a:off x="723923" y="1041998"/>
            <a:ext cx="2730477" cy="1692771"/>
          </a:xfrm>
          <a:prstGeom prst="rect">
            <a:avLst/>
          </a:prstGeom>
          <a:ln>
            <a:solidFill>
              <a:srgbClr val="00507C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193598"/>
                </a:solidFill>
                <a:latin typeface="Verdana" pitchFamily="34" charset="0"/>
                <a:cs typeface="Arial" pitchFamily="34" charset="0"/>
              </a:rPr>
              <a:t>ПОРЯДОК</a:t>
            </a:r>
          </a:p>
          <a:p>
            <a:pPr algn="ctr"/>
            <a:r>
              <a:rPr lang="ru-RU" sz="2400" b="1" dirty="0" smtClean="0">
                <a:solidFill>
                  <a:srgbClr val="193598"/>
                </a:solidFill>
                <a:latin typeface="Verdana" pitchFamily="34" charset="0"/>
                <a:cs typeface="Arial" pitchFamily="34" charset="0"/>
              </a:rPr>
              <a:t>применения ЛКОТ </a:t>
            </a:r>
            <a:br>
              <a:rPr lang="ru-RU" sz="2400" b="1" dirty="0" smtClean="0">
                <a:solidFill>
                  <a:srgbClr val="193598"/>
                </a:solidFill>
                <a:latin typeface="Verdana" pitchFamily="34" charset="0"/>
                <a:cs typeface="Arial" pitchFamily="34" charset="0"/>
              </a:rPr>
            </a:br>
            <a:r>
              <a:rPr lang="ru-RU" sz="2400" b="1" dirty="0" smtClean="0">
                <a:solidFill>
                  <a:srgbClr val="193598"/>
                </a:solidFill>
                <a:latin typeface="Verdana" pitchFamily="34" charset="0"/>
                <a:cs typeface="Arial" pitchFamily="34" charset="0"/>
              </a:rPr>
              <a:t>в ОАО «РЖД»</a:t>
            </a:r>
          </a:p>
          <a:p>
            <a:pPr algn="ctr"/>
            <a:endParaRPr lang="ru-RU" sz="800" b="1" dirty="0">
              <a:solidFill>
                <a:srgbClr val="00507C"/>
              </a:solidFill>
              <a:latin typeface="Verdana" pitchFamily="34" charset="0"/>
              <a:cs typeface="Arial" pitchFamily="34" charset="0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9495473" y="4902558"/>
            <a:ext cx="347502" cy="347502"/>
          </a:xfrm>
          <a:prstGeom prst="rect">
            <a:avLst/>
          </a:prstGeom>
        </p:spPr>
      </p:pic>
      <p:sp>
        <p:nvSpPr>
          <p:cNvPr id="39" name="Rectangle 3">
            <a:extLst>
              <a:ext uri="{FF2B5EF4-FFF2-40B4-BE49-F238E27FC236}">
                <a16:creationId xmlns="" xmlns:a16="http://schemas.microsoft.com/office/drawing/2014/main" id="{38C37A62-D4DE-47E8-8D85-CB5A7DC56BA2}"/>
              </a:ext>
            </a:extLst>
          </p:cNvPr>
          <p:cNvSpPr/>
          <p:nvPr/>
        </p:nvSpPr>
        <p:spPr>
          <a:xfrm>
            <a:off x="3441940" y="3304515"/>
            <a:ext cx="4823874" cy="436474"/>
          </a:xfrm>
          <a:prstGeom prst="rect">
            <a:avLst/>
          </a:prstGeom>
          <a:solidFill>
            <a:srgbClr val="0050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рядок подключения к ЛКОТ</a:t>
            </a:r>
            <a:endParaRPr lang="ru-RU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Левая фигурная скобка 39">
            <a:extLst>
              <a:ext uri="{FF2B5EF4-FFF2-40B4-BE49-F238E27FC236}">
                <a16:creationId xmlns="" xmlns:a16="http://schemas.microsoft.com/office/drawing/2014/main" id="{1B2C33F7-A037-4F14-9701-2D1B5D401ADD}"/>
              </a:ext>
            </a:extLst>
          </p:cNvPr>
          <p:cNvSpPr/>
          <p:nvPr/>
        </p:nvSpPr>
        <p:spPr>
          <a:xfrm rot="16200000">
            <a:off x="4335873" y="3522066"/>
            <a:ext cx="638362" cy="3802050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370936" y="3916392"/>
            <a:ext cx="1293962" cy="1173193"/>
          </a:xfrm>
          <a:prstGeom prst="roundRect">
            <a:avLst/>
          </a:prstGeom>
          <a:solidFill>
            <a:srgbClr val="A9A9A9"/>
          </a:solidFill>
          <a:ln>
            <a:solidFill>
              <a:srgbClr val="005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Стрелка вправо 41"/>
          <p:cNvSpPr/>
          <p:nvPr/>
        </p:nvSpPr>
        <p:spPr>
          <a:xfrm>
            <a:off x="1656271" y="4278702"/>
            <a:ext cx="741872" cy="484632"/>
          </a:xfrm>
          <a:prstGeom prst="rightArrow">
            <a:avLst/>
          </a:prstGeom>
          <a:solidFill>
            <a:srgbClr val="0050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2386555" y="3890512"/>
            <a:ext cx="1426320" cy="1190445"/>
          </a:xfrm>
          <a:prstGeom prst="roundRect">
            <a:avLst/>
          </a:prstGeom>
          <a:solidFill>
            <a:srgbClr val="A9A9A9"/>
          </a:solidFill>
          <a:ln>
            <a:solidFill>
              <a:srgbClr val="005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Rectangle 107">
            <a:extLst>
              <a:ext uri="{FF2B5EF4-FFF2-40B4-BE49-F238E27FC236}">
                <a16:creationId xmlns="" xmlns:a16="http://schemas.microsoft.com/office/drawing/2014/main" id="{04D5F394-3205-46B2-B2B6-1C91ED093FA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364371" y="3963754"/>
            <a:ext cx="1491631" cy="1077218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t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Согласование заявки в АСОЗ                      </a:t>
            </a:r>
            <a:r>
              <a:rPr lang="ru-RU" sz="8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(с рассмотрением загруженных приказа и пояснительной записки)</a:t>
            </a:r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5" name="Стрелка вправо 44"/>
          <p:cNvSpPr/>
          <p:nvPr/>
        </p:nvSpPr>
        <p:spPr>
          <a:xfrm>
            <a:off x="3818539" y="4267201"/>
            <a:ext cx="468805" cy="484632"/>
          </a:xfrm>
          <a:prstGeom prst="rightArrow">
            <a:avLst/>
          </a:prstGeom>
          <a:solidFill>
            <a:srgbClr val="0050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4278695" y="3887644"/>
            <a:ext cx="2596558" cy="1219194"/>
          </a:xfrm>
          <a:prstGeom prst="roundRect">
            <a:avLst/>
          </a:prstGeom>
          <a:solidFill>
            <a:srgbClr val="A9A9A9"/>
          </a:solidFill>
          <a:ln>
            <a:solidFill>
              <a:srgbClr val="005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Rectangle 107">
            <a:extLst>
              <a:ext uri="{FF2B5EF4-FFF2-40B4-BE49-F238E27FC236}">
                <a16:creationId xmlns="" xmlns:a16="http://schemas.microsoft.com/office/drawing/2014/main" id="{04D5F394-3205-46B2-B2B6-1C91ED093FA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287320" y="3894746"/>
            <a:ext cx="2599427" cy="1200329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t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Направление на личную почту работника </a:t>
            </a:r>
            <a:b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</a:br>
            <a: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ссылки-приглашения </a:t>
            </a:r>
            <a:b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</a:br>
            <a: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для присоединения </a:t>
            </a:r>
            <a:b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</a:br>
            <a: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к ОАО «РЖД» </a:t>
            </a:r>
            <a:b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</a:br>
            <a: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в ЕСИА (портал </a:t>
            </a:r>
            <a:r>
              <a:rPr lang="ru-RU" sz="1200" b="1" dirty="0" err="1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Госуслуги</a:t>
            </a:r>
            <a: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) </a:t>
            </a:r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8" name="Стрелка вправо 47"/>
          <p:cNvSpPr/>
          <p:nvPr/>
        </p:nvSpPr>
        <p:spPr>
          <a:xfrm>
            <a:off x="6880771" y="4258580"/>
            <a:ext cx="701839" cy="484632"/>
          </a:xfrm>
          <a:prstGeom prst="rightArrow">
            <a:avLst/>
          </a:prstGeom>
          <a:solidFill>
            <a:srgbClr val="0050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7570774" y="3896268"/>
            <a:ext cx="1693995" cy="1210569"/>
          </a:xfrm>
          <a:prstGeom prst="roundRect">
            <a:avLst/>
          </a:prstGeom>
          <a:solidFill>
            <a:srgbClr val="A9A9A9"/>
          </a:solidFill>
          <a:ln>
            <a:solidFill>
              <a:srgbClr val="005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Rectangle 107">
            <a:extLst>
              <a:ext uri="{FF2B5EF4-FFF2-40B4-BE49-F238E27FC236}">
                <a16:creationId xmlns="" xmlns:a16="http://schemas.microsoft.com/office/drawing/2014/main" id="{04D5F394-3205-46B2-B2B6-1C91ED093F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565844" y="3868902"/>
            <a:ext cx="1704329" cy="1261884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t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Присоединение к ОАО «РЖД»              в ЕСИА </a:t>
            </a:r>
            <a:b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</a:br>
            <a: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(портал </a:t>
            </a:r>
            <a:r>
              <a:rPr lang="ru-RU" sz="1200" b="1" dirty="0" err="1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Госуслуги</a:t>
            </a:r>
            <a: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)                   </a:t>
            </a:r>
            <a:r>
              <a:rPr lang="ru-RU" sz="8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(с информированием ЦБТ по ЭП)</a:t>
            </a:r>
            <a:endParaRPr lang="en-US" sz="800" b="1" dirty="0" smtClean="0">
              <a:solidFill>
                <a:srgbClr val="00507C"/>
              </a:solidFill>
              <a:latin typeface="Verdana" pitchFamily="34" charset="0"/>
              <a:cs typeface="Arial" pitchFamily="34" charset="0"/>
            </a:endParaRPr>
          </a:p>
        </p:txBody>
      </p:sp>
      <p:sp>
        <p:nvSpPr>
          <p:cNvPr id="51" name="Стрелка вправо 50"/>
          <p:cNvSpPr/>
          <p:nvPr/>
        </p:nvSpPr>
        <p:spPr>
          <a:xfrm>
            <a:off x="9264774" y="4249951"/>
            <a:ext cx="747268" cy="484632"/>
          </a:xfrm>
          <a:prstGeom prst="rightArrow">
            <a:avLst/>
          </a:prstGeom>
          <a:solidFill>
            <a:srgbClr val="0050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кругленный прямоугольник 51"/>
          <p:cNvSpPr/>
          <p:nvPr/>
        </p:nvSpPr>
        <p:spPr>
          <a:xfrm>
            <a:off x="10011936" y="3887647"/>
            <a:ext cx="1685486" cy="1210564"/>
          </a:xfrm>
          <a:prstGeom prst="roundRect">
            <a:avLst/>
          </a:prstGeom>
          <a:solidFill>
            <a:srgbClr val="A9A9A9"/>
          </a:solidFill>
          <a:ln>
            <a:solidFill>
              <a:srgbClr val="005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Rectangle 107">
            <a:extLst>
              <a:ext uri="{FF2B5EF4-FFF2-40B4-BE49-F238E27FC236}">
                <a16:creationId xmlns="" xmlns:a16="http://schemas.microsoft.com/office/drawing/2014/main" id="{04D5F394-3205-46B2-B2B6-1C91ED093FA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0007007" y="3981013"/>
            <a:ext cx="1704329" cy="1015663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t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Предоставление прав для работы в ЛКОТ                   </a:t>
            </a:r>
            <a:r>
              <a:rPr lang="ru-RU" sz="8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(в соответствии с полномочиями из пояснительной записки)</a:t>
            </a:r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4" name="Стрелка вправо 53"/>
          <p:cNvSpPr/>
          <p:nvPr/>
        </p:nvSpPr>
        <p:spPr>
          <a:xfrm rot="5400000">
            <a:off x="832838" y="5010123"/>
            <a:ext cx="329903" cy="484632"/>
          </a:xfrm>
          <a:prstGeom prst="rightArrow">
            <a:avLst/>
          </a:prstGeom>
          <a:solidFill>
            <a:srgbClr val="007F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Выноска со стрелкой вниз 54"/>
          <p:cNvSpPr/>
          <p:nvPr/>
        </p:nvSpPr>
        <p:spPr>
          <a:xfrm>
            <a:off x="353683" y="3079629"/>
            <a:ext cx="1371600" cy="802257"/>
          </a:xfrm>
          <a:prstGeom prst="downArrowCallou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Rectangle 91">
            <a:extLst>
              <a:ext uri="{FF2B5EF4-FFF2-40B4-BE49-F238E27FC236}">
                <a16:creationId xmlns="" xmlns:a16="http://schemas.microsoft.com/office/drawing/2014/main" id="{5B6B5507-46EE-4A9B-A35B-513FD9A4BB2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70734" y="3122763"/>
            <a:ext cx="1363176" cy="430887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t">
            <a:spAutoFit/>
          </a:bodyPr>
          <a:lstStyle/>
          <a:p>
            <a:pPr lvl="0" algn="ctr"/>
            <a:r>
              <a:rPr lang="ru-RU" sz="1100" dirty="0" smtClean="0">
                <a:latin typeface="Verdana" pitchFamily="34" charset="0"/>
                <a:cs typeface="Arial" pitchFamily="34" charset="0"/>
              </a:rPr>
              <a:t>Работник подразделения</a:t>
            </a:r>
            <a:endParaRPr lang="ru-RU" sz="1100" dirty="0">
              <a:latin typeface="Verdana" pitchFamily="34" charset="0"/>
              <a:cs typeface="Arial" pitchFamily="34" charset="0"/>
            </a:endParaRPr>
          </a:p>
        </p:txBody>
      </p:sp>
      <p:sp>
        <p:nvSpPr>
          <p:cNvPr id="57" name="Выноска со стрелкой вниз 56"/>
          <p:cNvSpPr/>
          <p:nvPr/>
        </p:nvSpPr>
        <p:spPr>
          <a:xfrm rot="10800000">
            <a:off x="3965276" y="5776822"/>
            <a:ext cx="1371600" cy="802257"/>
          </a:xfrm>
          <a:prstGeom prst="downArrowCallou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Rectangle 91">
            <a:extLst>
              <a:ext uri="{FF2B5EF4-FFF2-40B4-BE49-F238E27FC236}">
                <a16:creationId xmlns="" xmlns:a16="http://schemas.microsoft.com/office/drawing/2014/main" id="{5B6B5507-46EE-4A9B-A35B-513FD9A4BB2A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65074" y="6104627"/>
            <a:ext cx="1363176" cy="430887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t">
            <a:spAutoFit/>
          </a:bodyPr>
          <a:lstStyle/>
          <a:p>
            <a:pPr lvl="0" algn="ctr"/>
            <a:r>
              <a:rPr lang="ru-RU" sz="1100" dirty="0" smtClean="0">
                <a:latin typeface="Verdana" pitchFamily="34" charset="0"/>
                <a:cs typeface="Arial" pitchFamily="34" charset="0"/>
              </a:rPr>
              <a:t>Работник </a:t>
            </a:r>
          </a:p>
          <a:p>
            <a:pPr lvl="0" algn="ctr"/>
            <a:r>
              <a:rPr lang="ru-RU" sz="1100" dirty="0" smtClean="0">
                <a:latin typeface="Verdana" pitchFamily="34" charset="0"/>
                <a:cs typeface="Arial" pitchFamily="34" charset="0"/>
              </a:rPr>
              <a:t>АУ</a:t>
            </a:r>
            <a:endParaRPr lang="ru-RU" sz="1100" dirty="0">
              <a:latin typeface="Verdana" pitchFamily="34" charset="0"/>
              <a:cs typeface="Arial" pitchFamily="34" charset="0"/>
            </a:endParaRPr>
          </a:p>
        </p:txBody>
      </p:sp>
      <p:sp>
        <p:nvSpPr>
          <p:cNvPr id="59" name="Выноска со стрелкой вниз 58"/>
          <p:cNvSpPr/>
          <p:nvPr/>
        </p:nvSpPr>
        <p:spPr>
          <a:xfrm rot="10800000">
            <a:off x="7714891" y="5170098"/>
            <a:ext cx="1371600" cy="802257"/>
          </a:xfrm>
          <a:prstGeom prst="downArrowCallou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Rectangle 91">
            <a:extLst>
              <a:ext uri="{FF2B5EF4-FFF2-40B4-BE49-F238E27FC236}">
                <a16:creationId xmlns="" xmlns:a16="http://schemas.microsoft.com/office/drawing/2014/main" id="{5B6B5507-46EE-4A9B-A35B-513FD9A4BB2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714689" y="5497903"/>
            <a:ext cx="1363176" cy="430887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t">
            <a:spAutoFit/>
          </a:bodyPr>
          <a:lstStyle/>
          <a:p>
            <a:pPr lvl="0" algn="ctr"/>
            <a:r>
              <a:rPr lang="ru-RU" sz="1100" dirty="0" smtClean="0">
                <a:latin typeface="Verdana" pitchFamily="34" charset="0"/>
                <a:cs typeface="Arial" pitchFamily="34" charset="0"/>
              </a:rPr>
              <a:t>Причастный работник </a:t>
            </a:r>
          </a:p>
        </p:txBody>
      </p:sp>
      <p:sp>
        <p:nvSpPr>
          <p:cNvPr id="61" name="Выноска со стрелкой вниз 60"/>
          <p:cNvSpPr/>
          <p:nvPr/>
        </p:nvSpPr>
        <p:spPr>
          <a:xfrm rot="10800000">
            <a:off x="10161917" y="5175848"/>
            <a:ext cx="1371600" cy="802257"/>
          </a:xfrm>
          <a:prstGeom prst="downArrowCallou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Rectangle 91">
            <a:extLst>
              <a:ext uri="{FF2B5EF4-FFF2-40B4-BE49-F238E27FC236}">
                <a16:creationId xmlns="" xmlns:a16="http://schemas.microsoft.com/office/drawing/2014/main" id="{5B6B5507-46EE-4A9B-A35B-513FD9A4BB2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0161715" y="5503653"/>
            <a:ext cx="1363176" cy="430887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t">
            <a:spAutoFit/>
          </a:bodyPr>
          <a:lstStyle/>
          <a:p>
            <a:pPr lvl="0" algn="ctr"/>
            <a:r>
              <a:rPr lang="ru-RU" sz="1100" dirty="0" smtClean="0">
                <a:latin typeface="Verdana" pitchFamily="34" charset="0"/>
                <a:cs typeface="Arial" pitchFamily="34" charset="0"/>
              </a:rPr>
              <a:t>Работник </a:t>
            </a:r>
          </a:p>
          <a:p>
            <a:pPr lvl="0" algn="ctr"/>
            <a:r>
              <a:rPr lang="ru-RU" sz="1100" dirty="0" smtClean="0">
                <a:latin typeface="Verdana" pitchFamily="34" charset="0"/>
                <a:cs typeface="Arial" pitchFamily="34" charset="0"/>
              </a:rPr>
              <a:t>АУ</a:t>
            </a:r>
            <a:endParaRPr lang="ru-RU" sz="1100" dirty="0">
              <a:latin typeface="Verdana" pitchFamily="34" charset="0"/>
              <a:cs typeface="Arial" pitchFamily="34" charset="0"/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>
            <a:off x="494841" y="3004443"/>
            <a:ext cx="11346579" cy="2671"/>
          </a:xfrm>
          <a:prstGeom prst="line">
            <a:avLst/>
          </a:prstGeom>
          <a:ln w="28575">
            <a:solidFill>
              <a:srgbClr val="00507C"/>
            </a:solidFill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64" name="Rectangle 107">
            <a:extLst>
              <a:ext uri="{FF2B5EF4-FFF2-40B4-BE49-F238E27FC236}">
                <a16:creationId xmlns="" xmlns:a16="http://schemas.microsoft.com/office/drawing/2014/main" id="{04D5F394-3205-46B2-B2B6-1C91ED093FA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331503" y="3958003"/>
            <a:ext cx="1367900" cy="1138773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t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Оформление заявки </a:t>
            </a:r>
            <a:b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</a:br>
            <a:r>
              <a:rPr lang="ru-RU" sz="12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в АС ОЗ                      </a:t>
            </a:r>
            <a:r>
              <a:rPr lang="ru-RU" sz="800" b="1" dirty="0" smtClean="0">
                <a:solidFill>
                  <a:srgbClr val="00507C"/>
                </a:solidFill>
                <a:latin typeface="Verdana" pitchFamily="34" charset="0"/>
                <a:cs typeface="Arial" pitchFamily="34" charset="0"/>
              </a:rPr>
              <a:t>(с загрузкой  приказа и пояснительной записки)</a:t>
            </a:r>
            <a:endParaRPr lang="en-US" sz="8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342185" y="5425434"/>
            <a:ext cx="1293962" cy="1219206"/>
          </a:xfrm>
          <a:prstGeom prst="roundRect">
            <a:avLst/>
          </a:prstGeom>
          <a:solidFill>
            <a:srgbClr val="D3D3D3"/>
          </a:solidFill>
          <a:ln>
            <a:solidFill>
              <a:srgbClr val="0050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Rectangle 107">
            <a:extLst>
              <a:ext uri="{FF2B5EF4-FFF2-40B4-BE49-F238E27FC236}">
                <a16:creationId xmlns="" xmlns:a16="http://schemas.microsoft.com/office/drawing/2014/main" id="{04D5F394-3205-46B2-B2B6-1C91ED093FA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12921" y="5411743"/>
            <a:ext cx="1367900" cy="1261884"/>
          </a:xfrm>
          <a:prstGeom prst="rect">
            <a:avLst/>
          </a:prstGeom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 wrap="square" anchor="t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7FB1"/>
                </a:solidFill>
                <a:latin typeface="Verdana" pitchFamily="34" charset="0"/>
                <a:cs typeface="Arial" pitchFamily="34" charset="0"/>
              </a:rPr>
              <a:t>Оформление заявки </a:t>
            </a:r>
            <a:br>
              <a:rPr lang="ru-RU" sz="1200" b="1" dirty="0" smtClean="0">
                <a:solidFill>
                  <a:srgbClr val="007FB1"/>
                </a:solidFill>
                <a:latin typeface="Verdana" pitchFamily="34" charset="0"/>
                <a:cs typeface="Arial" pitchFamily="34" charset="0"/>
              </a:rPr>
            </a:br>
            <a:r>
              <a:rPr lang="ru-RU" sz="1200" b="1" dirty="0" smtClean="0">
                <a:solidFill>
                  <a:srgbClr val="007FB1"/>
                </a:solidFill>
                <a:latin typeface="Verdana" pitchFamily="34" charset="0"/>
                <a:cs typeface="Arial" pitchFamily="34" charset="0"/>
              </a:rPr>
              <a:t>на получение ЭЦП и МЧД           </a:t>
            </a:r>
            <a:r>
              <a:rPr lang="ru-RU" sz="800" b="1" dirty="0" smtClean="0">
                <a:solidFill>
                  <a:srgbClr val="007FB1"/>
                </a:solidFill>
                <a:latin typeface="Verdana" pitchFamily="34" charset="0"/>
                <a:cs typeface="Arial" pitchFamily="34" charset="0"/>
              </a:rPr>
              <a:t>(при необходимости)</a:t>
            </a:r>
            <a:endParaRPr lang="en-US" sz="800" dirty="0">
              <a:solidFill>
                <a:srgbClr val="007FB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4420710" y="946803"/>
            <a:ext cx="4063339" cy="923326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en-US" sz="3600" dirty="0" smtClean="0">
                <a:solidFill>
                  <a:srgbClr val="193598"/>
                </a:solidFill>
                <a:latin typeface="RussianRail G Pro" pitchFamily="50" charset="-52"/>
                <a:ea typeface="Verdana" panose="020B0604030504040204" pitchFamily="34" charset="0"/>
              </a:rPr>
              <a:t>&gt; </a:t>
            </a:r>
            <a:r>
              <a:rPr lang="ru-RU" sz="3600" dirty="0" smtClean="0">
                <a:solidFill>
                  <a:srgbClr val="193598"/>
                </a:solidFill>
                <a:latin typeface="RussianRail G Pro" pitchFamily="50" charset="-52"/>
                <a:ea typeface="Verdana" panose="020B0604030504040204" pitchFamily="34" charset="0"/>
              </a:rPr>
              <a:t>700 </a:t>
            </a:r>
            <a:r>
              <a:rPr lang="ru-RU" sz="1600" spc="150" dirty="0" smtClean="0">
                <a:ln w="15875" cap="sq">
                  <a:noFill/>
                  <a:miter lim="800000"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ботников работают в ЛКОТ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7601037" y="1869792"/>
            <a:ext cx="3388879" cy="923326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en-US" sz="3600" dirty="0" smtClean="0">
                <a:solidFill>
                  <a:srgbClr val="193598"/>
                </a:solidFill>
                <a:latin typeface="RussianRail G Pro" pitchFamily="50" charset="-52"/>
                <a:ea typeface="Verdana" panose="020B0604030504040204" pitchFamily="34" charset="0"/>
              </a:rPr>
              <a:t>&gt; </a:t>
            </a:r>
            <a:r>
              <a:rPr lang="ru-RU" sz="3600" dirty="0" smtClean="0">
                <a:solidFill>
                  <a:srgbClr val="193598"/>
                </a:solidFill>
                <a:latin typeface="RussianRail G Pro" pitchFamily="50" charset="-52"/>
                <a:ea typeface="Verdana" panose="020B0604030504040204" pitchFamily="34" charset="0"/>
              </a:rPr>
              <a:t>3600 </a:t>
            </a:r>
            <a:r>
              <a:rPr lang="ru-RU" sz="1600" spc="150" dirty="0" smtClean="0">
                <a:ln w="15875" cap="sq">
                  <a:noFill/>
                  <a:miter lim="800000"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ботников планируется подключить</a:t>
            </a:r>
          </a:p>
        </p:txBody>
      </p:sp>
    </p:spTree>
    <p:extLst>
      <p:ext uri="{BB962C8B-B14F-4D97-AF65-F5344CB8AC3E}">
        <p14:creationId xmlns:p14="http://schemas.microsoft.com/office/powerpoint/2010/main" xmlns="" val="147024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FE891A01-1469-D41F-830F-28E6FB70C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37" y="365126"/>
            <a:ext cx="8615795" cy="73041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/</a:t>
            </a:r>
            <a:r>
              <a:rPr lang="en-US" dirty="0" smtClean="0"/>
              <a:t> </a:t>
            </a:r>
            <a:r>
              <a:rPr lang="ru-RU" altLang="ru-RU" sz="4100" dirty="0" smtClean="0">
                <a:sym typeface="GillSans-Normal"/>
              </a:rPr>
              <a:t>ОПТИМИЗАЦИЯ ПОРЯДКА ОБУЧЕНИЯ ПО ОХРАНЕ ТРУДА</a:t>
            </a:r>
            <a:br>
              <a:rPr lang="ru-RU" altLang="ru-RU" sz="4100" dirty="0" smtClean="0">
                <a:sym typeface="GillSans-Normal"/>
              </a:rPr>
            </a:br>
            <a:endParaRPr lang="ru-RU" sz="41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88508" y="2251174"/>
            <a:ext cx="10990997" cy="15382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marL="455613" indent="-7938" algn="just">
              <a:defRPr/>
            </a:pPr>
            <a:r>
              <a:rPr lang="ru-RU" sz="2400" dirty="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Установить периодичность обучения не реже 1-го раза в 3 года с ежегодной периодической проверкой знаний без обучения, с возможностью ее проведения в комиссии работодателя</a:t>
            </a:r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455613" indent="-7938" algn="just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Аналогично требованиям Правил по охране труда при работе на высоте (№ 782Н от 16.11.2020 г.) и Правил по охране труда </a:t>
            </a:r>
            <a:b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 работах в ОЗП (№ 902Н от 15.12.2020 г.).)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Нашивка 23">
            <a:extLst>
              <a:ext uri="{FF2B5EF4-FFF2-40B4-BE49-F238E27FC236}">
                <a16:creationId xmlns="" xmlns:a16="http://schemas.microsoft.com/office/drawing/2014/main" id="{2AE3E468-2D80-48FA-96D8-8589C1740121}"/>
              </a:ext>
            </a:extLst>
          </p:cNvPr>
          <p:cNvSpPr/>
          <p:nvPr/>
        </p:nvSpPr>
        <p:spPr>
          <a:xfrm>
            <a:off x="422179" y="1863191"/>
            <a:ext cx="10256357" cy="393977"/>
          </a:xfrm>
          <a:prstGeom prst="chevron">
            <a:avLst/>
          </a:prstGeom>
          <a:solidFill>
            <a:srgbClr val="465267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21917" tIns="60958" rIns="121917" bIns="60958"/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ериодичность обучения по программам, указанным в пп. «в» пункта 46 Правил обучения 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F186A4D7-05BC-4D26-B70B-1A7A721FF349}"/>
              </a:ext>
            </a:extLst>
          </p:cNvPr>
          <p:cNvSpPr txBox="1"/>
          <p:nvPr/>
        </p:nvSpPr>
        <p:spPr>
          <a:xfrm>
            <a:off x="0" y="1437484"/>
            <a:ext cx="12192000" cy="369332"/>
          </a:xfrm>
          <a:prstGeom prst="rect">
            <a:avLst/>
          </a:prstGeom>
          <a:noFill/>
          <a:ln w="12700" cmpd="sng">
            <a:solidFill>
              <a:srgbClr val="465267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редложения </a:t>
            </a:r>
            <a:r>
              <a:rPr lang="ru-RU" altLang="ru-RU" b="1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GillSans-Normal"/>
              </a:rPr>
              <a:t>по внесению изменений в Правила обучения 2464</a:t>
            </a:r>
            <a:endParaRPr lang="ru-RU" b="1" dirty="0">
              <a:solidFill>
                <a:srgbClr val="465267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88508" y="4341338"/>
            <a:ext cx="10990997" cy="22489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marL="455613" indent="-7938" algn="just">
              <a:defRPr/>
            </a:pPr>
            <a:r>
              <a:rPr lang="ru-RU" sz="2400" dirty="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Установить требование в случае прохождения проверки знания требований охраны труда с использованием ЕИСОТ:</a:t>
            </a:r>
          </a:p>
          <a:p>
            <a:pPr marL="455613" indent="-7938" algn="just">
              <a:buFont typeface="Wingdings" pitchFamily="2" charset="2"/>
              <a:buChar char="ü"/>
              <a:defRPr/>
            </a:pPr>
            <a:r>
              <a:rPr lang="ru-RU" sz="2400" dirty="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  о </a:t>
            </a:r>
            <a:r>
              <a:rPr lang="ru-RU" sz="2400" dirty="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внесении записи и присвоении номера в реестре обученных по охране труда лиц системой в автоматизированном режиме</a:t>
            </a:r>
            <a:r>
              <a:rPr lang="ru-RU" sz="2400" dirty="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en-US" sz="2400" dirty="0" smtClean="0">
              <a:solidFill>
                <a:srgbClr val="465267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5613" indent="-7938" algn="just">
              <a:buFont typeface="Wingdings" pitchFamily="2" charset="2"/>
              <a:buChar char="ü"/>
              <a:defRPr/>
            </a:pPr>
            <a:r>
              <a:rPr lang="ru-RU" sz="2400" dirty="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  о </a:t>
            </a:r>
            <a:r>
              <a:rPr lang="ru-RU" sz="2400" dirty="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формировании протокола ПЗ системой в автоматизированном </a:t>
            </a:r>
            <a:r>
              <a:rPr lang="ru-RU" sz="2400" dirty="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режиме</a:t>
            </a:r>
            <a:r>
              <a:rPr lang="en-US" sz="2400" dirty="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sz="2400" dirty="0" smtClean="0">
              <a:solidFill>
                <a:srgbClr val="465267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5613" indent="-7938" algn="just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Интеграция ЛКОТ и единой общероссийской справочно-информационной системы (ЕИСОТ) позволит снизить риски внесения в реестр некорректных данных.)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Нашивка 23">
            <a:extLst>
              <a:ext uri="{FF2B5EF4-FFF2-40B4-BE49-F238E27FC236}">
                <a16:creationId xmlns="" xmlns:a16="http://schemas.microsoft.com/office/drawing/2014/main" id="{2AE3E468-2D80-48FA-96D8-8589C1740121}"/>
              </a:ext>
            </a:extLst>
          </p:cNvPr>
          <p:cNvSpPr/>
          <p:nvPr/>
        </p:nvSpPr>
        <p:spPr>
          <a:xfrm>
            <a:off x="422179" y="3935701"/>
            <a:ext cx="10256357" cy="413881"/>
          </a:xfrm>
          <a:prstGeom prst="chevron">
            <a:avLst/>
          </a:prstGeom>
          <a:solidFill>
            <a:srgbClr val="465267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21917" tIns="60958" rIns="121917" bIns="60958"/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Интеграция систем</a:t>
            </a:r>
          </a:p>
          <a:p>
            <a:pPr algn="ctr"/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47024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FE891A01-1469-D41F-830F-28E6FB70C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37" y="365126"/>
            <a:ext cx="8615795" cy="73041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/</a:t>
            </a:r>
            <a:r>
              <a:rPr lang="en-US" dirty="0" smtClean="0"/>
              <a:t> </a:t>
            </a:r>
            <a:r>
              <a:rPr lang="ru-RU" altLang="ru-RU" sz="4100" dirty="0" smtClean="0">
                <a:sym typeface="GillSans-Normal"/>
              </a:rPr>
              <a:t>О РАБОТЕ ЛКОТ</a:t>
            </a:r>
            <a:br>
              <a:rPr lang="ru-RU" altLang="ru-RU" sz="4100" dirty="0" smtClean="0">
                <a:sym typeface="GillSans-Normal"/>
              </a:rPr>
            </a:br>
            <a:endParaRPr lang="ru-RU" sz="41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88508" y="2127902"/>
            <a:ext cx="10990997" cy="36319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marL="455613" indent="-7938" algn="just">
              <a:defRPr/>
            </a:pPr>
            <a:r>
              <a:rPr lang="ru-RU" sz="2400" dirty="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Рассмотреть вопрос создания канала </a:t>
            </a:r>
            <a:r>
              <a:rPr lang="ru-RU" sz="2400" dirty="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связи с </a:t>
            </a:r>
            <a:r>
              <a:rPr lang="ru-RU" sz="2400" dirty="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пользователями ЛКОТ</a:t>
            </a:r>
            <a:br>
              <a:rPr lang="ru-RU" sz="2400" dirty="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dirty="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sz="2400" dirty="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анонсирования предстоящих изменений порядка предоставления доступа </a:t>
            </a:r>
            <a:r>
              <a:rPr lang="ru-RU" sz="240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240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работы, </a:t>
            </a:r>
            <a:r>
              <a:rPr lang="ru-RU" sz="2400" dirty="0" smtClean="0">
                <a:solidFill>
                  <a:srgbClr val="465267"/>
                </a:solidFill>
                <a:latin typeface="Times New Roman" pitchFamily="18" charset="0"/>
                <a:cs typeface="Times New Roman" pitchFamily="18" charset="0"/>
              </a:rPr>
              <a:t>а также оперативного информирования о вступивших изменениях и сбоях в работе системы. </a:t>
            </a:r>
            <a:endParaRPr lang="ru-RU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5613" indent="-7938" algn="just">
              <a:defRPr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5613" indent="-7938" algn="just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При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благовременном анонсировании предполагаемых изменений у представителей работодателя появится возможность предпринять меры по минимизации негативного воздействия изменений на продуктивность работы в ЛКОТ.)  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F186A4D7-05BC-4D26-B70B-1A7A721FF349}"/>
              </a:ext>
            </a:extLst>
          </p:cNvPr>
          <p:cNvSpPr txBox="1"/>
          <p:nvPr/>
        </p:nvSpPr>
        <p:spPr>
          <a:xfrm>
            <a:off x="0" y="1544567"/>
            <a:ext cx="12192000" cy="369332"/>
          </a:xfrm>
          <a:prstGeom prst="rect">
            <a:avLst/>
          </a:prstGeom>
          <a:noFill/>
          <a:ln w="12700" cmpd="sng">
            <a:solidFill>
              <a:srgbClr val="465267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редложение </a:t>
            </a:r>
            <a:r>
              <a:rPr lang="ru-RU" altLang="ru-RU" b="1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GillSans-Normal"/>
              </a:rPr>
              <a:t>об информировании о работе ЛКОТ</a:t>
            </a:r>
            <a:endParaRPr lang="ru-RU" b="1" dirty="0">
              <a:solidFill>
                <a:srgbClr val="465267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7024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F186A4D7-05BC-4D26-B70B-1A7A721FF349}"/>
              </a:ext>
            </a:extLst>
          </p:cNvPr>
          <p:cNvSpPr txBox="1"/>
          <p:nvPr/>
        </p:nvSpPr>
        <p:spPr>
          <a:xfrm>
            <a:off x="833818" y="2814572"/>
            <a:ext cx="28803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ЛАГОДАРЮ </a:t>
            </a:r>
            <a:br>
              <a:rPr lang="ru-RU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 ВНИМАНИЕ!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5D2AD13B-E5A9-4014-A816-EE0F2296C659}"/>
              </a:ext>
            </a:extLst>
          </p:cNvPr>
          <p:cNvSpPr txBox="1"/>
          <p:nvPr/>
        </p:nvSpPr>
        <p:spPr>
          <a:xfrm>
            <a:off x="875344" y="3821924"/>
            <a:ext cx="48445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  <a:buFont typeface="Arial" pitchFamily="34" charset="0"/>
              <a:buNone/>
              <a:defRPr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GillSans-Normal"/>
              </a:rPr>
              <a:t>ГЛАВНЫЙ СПЕЦИАЛИСТ </a:t>
            </a:r>
            <a:b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GillSans-Normal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GillSans-Normal"/>
              </a:rPr>
              <a:t>ОТДЕЛА НОРМАТИВНОГО РЕГУЛИРОВАНИЯ</a:t>
            </a:r>
            <a:b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GillSans-Normal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GillSans-Normal"/>
              </a:rPr>
              <a:t>ДЕПАРТАМЕНТА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GillSans-Normal"/>
              </a:rPr>
              <a:t>ЭКОЛОГИИ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GillSans-Normal"/>
              </a:rPr>
              <a:t>И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GillSans-Normal"/>
              </a:rPr>
              <a:t>ТЕХНОСФЕРНОЙ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GillSans-Normal"/>
              </a:rPr>
              <a:t>БЕЗОПАСНОСТИ ОАО «РЖД»</a:t>
            </a:r>
            <a:endParaRPr lang="en-US" altLang="ru-RU" sz="1200" dirty="0">
              <a:solidFill>
                <a:schemeClr val="tx1">
                  <a:lumMod val="75000"/>
                  <a:lumOff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r>
              <a:rPr 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GillSans-Normal"/>
              </a:rPr>
              <a:t>ПРОХОРОВ ВИКТОР СЕРГЕЕВИЧ</a:t>
            </a:r>
            <a:endParaRPr 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GillSans-Norm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7024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FE891A01-1469-D41F-830F-28E6FB70C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37" y="365126"/>
            <a:ext cx="9012837" cy="730418"/>
          </a:xfrm>
        </p:spPr>
        <p:txBody>
          <a:bodyPr>
            <a:noAutofit/>
          </a:bodyPr>
          <a:lstStyle/>
          <a:p>
            <a:r>
              <a:rPr lang="ru-RU" sz="2800" dirty="0"/>
              <a:t>/ </a:t>
            </a:r>
            <a:r>
              <a:rPr lang="ru-RU" sz="2800" dirty="0" smtClean="0"/>
              <a:t>ПОЛИТИКА ХОЛДИНГА РЖД В ОБЛАСТИ ОХРАНЫ ТРУДА И ОКРУЖАЮЩЕЙ СРЕДЫ, ПРОМЫШЛЕННОЙ И ПОЖАРНОЙ БЕЗОПАСНОСТИ</a:t>
            </a:r>
            <a:endParaRPr lang="ru-RU" sz="2800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9643023A-FE33-448F-ABF2-8792F33BF88D}"/>
              </a:ext>
            </a:extLst>
          </p:cNvPr>
          <p:cNvSpPr/>
          <p:nvPr/>
        </p:nvSpPr>
        <p:spPr>
          <a:xfrm>
            <a:off x="2" y="2203391"/>
            <a:ext cx="12191998" cy="354099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75737698-456A-4D9A-8717-FDFBEFA16E02}"/>
              </a:ext>
            </a:extLst>
          </p:cNvPr>
          <p:cNvSpPr/>
          <p:nvPr/>
        </p:nvSpPr>
        <p:spPr>
          <a:xfrm>
            <a:off x="5364080" y="2228811"/>
            <a:ext cx="5600699" cy="3527601"/>
          </a:xfrm>
          <a:prstGeom prst="rect">
            <a:avLst/>
          </a:prstGeom>
          <a:solidFill>
            <a:srgbClr val="465267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CDFB8949-F3DC-4C51-9E75-B30D4A5ED9DA}"/>
              </a:ext>
            </a:extLst>
          </p:cNvPr>
          <p:cNvSpPr txBox="1"/>
          <p:nvPr/>
        </p:nvSpPr>
        <p:spPr>
          <a:xfrm>
            <a:off x="5879935" y="2860023"/>
            <a:ext cx="4288037" cy="21921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  <a:defRPr/>
            </a:pPr>
            <a:r>
              <a:rPr lang="ru-RU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Эксплуатируя объекты повышенной опасности, холдинг «РЖД» считает охрану труда и окружающей среды, промышленную и пожарную безопасность неотъемлемым элементом своей деятельности и одним из своих долгосрочных приоритетов. Никакие соображения экономического, технического или иного характера не могут быть приняты во внимание, если они противоречат требованиям к обеспечению безопасности работников компании, населения и экологии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8E925B5B-C9B8-477F-95B7-8E4343CFAF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89123" y="2335852"/>
            <a:ext cx="2770055" cy="329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FF07DF3D-480A-42EC-B617-E97CC90DB04D}"/>
              </a:ext>
            </a:extLst>
          </p:cNvPr>
          <p:cNvSpPr/>
          <p:nvPr/>
        </p:nvSpPr>
        <p:spPr>
          <a:xfrm>
            <a:off x="3722992" y="5978752"/>
            <a:ext cx="626600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400" dirty="0">
                <a:solidFill>
                  <a:srgbClr val="313A49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Настоящая политика распространяется на все филиалы </a:t>
            </a:r>
            <a:r>
              <a:rPr lang="en-US" altLang="ru-RU" sz="1400" dirty="0">
                <a:solidFill>
                  <a:srgbClr val="313A49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/>
            </a:r>
            <a:br>
              <a:rPr lang="en-US" altLang="ru-RU" sz="1400" dirty="0">
                <a:solidFill>
                  <a:srgbClr val="313A49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ru-RU" altLang="ru-RU" sz="1400" dirty="0">
                <a:solidFill>
                  <a:srgbClr val="313A49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и структурные подразделения ОАО «РЖД», а также его дочерние и зависимые общества (по согласованию).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2E69C8EA-8EAD-426B-B0E2-A66748839EC6}"/>
              </a:ext>
            </a:extLst>
          </p:cNvPr>
          <p:cNvGrpSpPr/>
          <p:nvPr/>
        </p:nvGrpSpPr>
        <p:grpSpPr>
          <a:xfrm>
            <a:off x="2553899" y="5801420"/>
            <a:ext cx="996420" cy="996420"/>
            <a:chOff x="2222529" y="5071005"/>
            <a:chExt cx="1091448" cy="1091448"/>
          </a:xfrm>
        </p:grpSpPr>
        <p:sp>
          <p:nvSpPr>
            <p:cNvPr id="9" name="Овал 8">
              <a:extLst>
                <a:ext uri="{FF2B5EF4-FFF2-40B4-BE49-F238E27FC236}">
                  <a16:creationId xmlns:a16="http://schemas.microsoft.com/office/drawing/2014/main" xmlns="" id="{50D74102-8B88-422A-A917-F3F70035F44D}"/>
                </a:ext>
              </a:extLst>
            </p:cNvPr>
            <p:cNvSpPr/>
            <p:nvPr/>
          </p:nvSpPr>
          <p:spPr>
            <a:xfrm>
              <a:off x="2222529" y="5071005"/>
              <a:ext cx="1091448" cy="1091448"/>
            </a:xfrm>
            <a:prstGeom prst="ellipse">
              <a:avLst/>
            </a:prstGeom>
            <a:solidFill>
              <a:srgbClr val="F2F2F2"/>
            </a:solidFill>
            <a:ln w="57150">
              <a:solidFill>
                <a:srgbClr val="4652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xmlns="" id="{B12484AB-C06A-46A3-9BFF-CC2A90836B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76310" y="5226090"/>
              <a:ext cx="774660" cy="7746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="" xmlns:p14="http://schemas.microsoft.com/office/powerpoint/2010/main" val="147024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FE891A01-1469-D41F-830F-28E6FB70C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8437" y="346076"/>
            <a:ext cx="7919551" cy="730418"/>
          </a:xfrm>
        </p:spPr>
        <p:txBody>
          <a:bodyPr>
            <a:normAutofit fontScale="90000"/>
          </a:bodyPr>
          <a:lstStyle/>
          <a:p>
            <a:r>
              <a:rPr lang="ru-RU" dirty="0"/>
              <a:t>/ </a:t>
            </a:r>
            <a:r>
              <a:rPr lang="ru-RU" dirty="0" smtClean="0"/>
              <a:t>КУЛЬТУРА БЕЗОПАСНОСТИ</a:t>
            </a:r>
            <a:endParaRPr lang="ru-RU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261225" cy="1125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7" name="Группа 56"/>
          <p:cNvGrpSpPr/>
          <p:nvPr/>
        </p:nvGrpSpPr>
        <p:grpSpPr>
          <a:xfrm>
            <a:off x="7338721" y="1008309"/>
            <a:ext cx="4853279" cy="1843373"/>
            <a:chOff x="6989877" y="4932609"/>
            <a:chExt cx="4849197" cy="1843373"/>
          </a:xfrm>
        </p:grpSpPr>
        <p:sp>
          <p:nvSpPr>
            <p:cNvPr id="44" name="Фигура, имеющая форму буквы L 43"/>
            <p:cNvSpPr/>
            <p:nvPr/>
          </p:nvSpPr>
          <p:spPr>
            <a:xfrm rot="13511514">
              <a:off x="8499381" y="5220707"/>
              <a:ext cx="158623" cy="159155"/>
            </a:xfrm>
            <a:prstGeom prst="corner">
              <a:avLst>
                <a:gd name="adj1" fmla="val 35981"/>
                <a:gd name="adj2" fmla="val 34861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9" tIns="34289" rIns="68579" bIns="34289" rtlCol="0" anchor="ctr"/>
            <a:lstStyle/>
            <a:p>
              <a:pPr algn="just"/>
              <a:endParaRPr lang="ru-RU" sz="800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5" name="Фигура, имеющая форму буквы L 44"/>
            <p:cNvSpPr/>
            <p:nvPr/>
          </p:nvSpPr>
          <p:spPr>
            <a:xfrm rot="13511514">
              <a:off x="8507847" y="5610315"/>
              <a:ext cx="158623" cy="159155"/>
            </a:xfrm>
            <a:prstGeom prst="corner">
              <a:avLst>
                <a:gd name="adj1" fmla="val 35981"/>
                <a:gd name="adj2" fmla="val 34861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9" tIns="34289" rIns="68579" bIns="34289" rtlCol="0" anchor="ctr"/>
            <a:lstStyle/>
            <a:p>
              <a:pPr algn="just"/>
              <a:endParaRPr lang="ru-RU" sz="800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6" name="Фигура, имеющая форму буквы L 45"/>
            <p:cNvSpPr/>
            <p:nvPr/>
          </p:nvSpPr>
          <p:spPr>
            <a:xfrm rot="13511514">
              <a:off x="8499379" y="5986287"/>
              <a:ext cx="158623" cy="159155"/>
            </a:xfrm>
            <a:prstGeom prst="corner">
              <a:avLst>
                <a:gd name="adj1" fmla="val 35981"/>
                <a:gd name="adj2" fmla="val 34861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9" tIns="34289" rIns="68579" bIns="34289" rtlCol="0" anchor="ctr"/>
            <a:lstStyle/>
            <a:p>
              <a:pPr algn="just"/>
              <a:endParaRPr lang="ru-RU" sz="800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8813474" y="5070628"/>
              <a:ext cx="179047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Лидерство</a:t>
              </a:r>
              <a:endParaRPr lang="ru-RU" dirty="0"/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8830404" y="5475676"/>
              <a:ext cx="223864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Управление рисками</a:t>
              </a:r>
              <a:endParaRPr lang="ru-RU" dirty="0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8796539" y="5852652"/>
              <a:ext cx="304253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Приоритет охраны труда </a:t>
              </a:r>
            </a:p>
            <a:p>
              <a:r>
                <a:rPr lang="ru-RU" dirty="0" smtClean="0"/>
                <a:t>над производственными вопросами</a:t>
              </a:r>
              <a:endParaRPr lang="ru-RU" dirty="0"/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6989877" y="4932609"/>
              <a:ext cx="1537784" cy="400105"/>
            </a:xfrm>
            <a:prstGeom prst="rect">
              <a:avLst/>
            </a:prstGeom>
            <a:noFill/>
          </p:spPr>
          <p:txBody>
            <a:bodyPr wrap="square" lIns="121917" tIns="60958" rIns="121917" bIns="60958" rtlCol="0">
              <a:spAutoFit/>
            </a:bodyPr>
            <a:lstStyle/>
            <a:p>
              <a:r>
                <a:rPr lang="ru-RU" b="1" dirty="0" smtClean="0"/>
                <a:t>Руководство</a:t>
              </a:r>
              <a:endParaRPr lang="ru-RU" b="1" dirty="0"/>
            </a:p>
          </p:txBody>
        </p:sp>
        <p:pic>
          <p:nvPicPr>
            <p:cNvPr id="51" name="Picture 2">
              <a:extLst>
                <a:ext uri="{FF2B5EF4-FFF2-40B4-BE49-F238E27FC236}">
                  <a16:creationId xmlns:a16="http://schemas.microsoft.com/office/drawing/2014/main" xmlns="" id="{4ABCD78B-E530-43E0-BECC-99272C659B6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03393" y="5338013"/>
              <a:ext cx="704851" cy="704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6" name="Группа 55"/>
          <p:cNvGrpSpPr/>
          <p:nvPr/>
        </p:nvGrpSpPr>
        <p:grpSpPr>
          <a:xfrm>
            <a:off x="8200744" y="4613386"/>
            <a:ext cx="3787838" cy="1917410"/>
            <a:chOff x="3114394" y="4708636"/>
            <a:chExt cx="3787838" cy="1917410"/>
          </a:xfrm>
        </p:grpSpPr>
        <p:sp>
          <p:nvSpPr>
            <p:cNvPr id="12" name="TextBox 11"/>
            <p:cNvSpPr txBox="1"/>
            <p:nvPr/>
          </p:nvSpPr>
          <p:spPr>
            <a:xfrm>
              <a:off x="3114394" y="4708636"/>
              <a:ext cx="1848131" cy="954103"/>
            </a:xfrm>
            <a:prstGeom prst="rect">
              <a:avLst/>
            </a:prstGeom>
            <a:noFill/>
          </p:spPr>
          <p:txBody>
            <a:bodyPr wrap="square" lIns="121917" tIns="60958" rIns="121917" bIns="60958" rtlCol="0">
              <a:spAutoFit/>
            </a:bodyPr>
            <a:lstStyle/>
            <a:p>
              <a:r>
                <a:rPr lang="ru-RU" b="1" dirty="0" smtClean="0"/>
                <a:t>Оборудование, </a:t>
              </a:r>
            </a:p>
            <a:p>
              <a:pPr algn="ctr"/>
              <a:r>
                <a:rPr lang="ru-RU" b="1" dirty="0" smtClean="0"/>
                <a:t>Условия труда, Технологии</a:t>
              </a:r>
              <a:endParaRPr lang="ru-RU" b="1" dirty="0"/>
            </a:p>
          </p:txBody>
        </p:sp>
        <p:sp>
          <p:nvSpPr>
            <p:cNvPr id="32" name="Фигура, имеющая форму буквы L 31"/>
            <p:cNvSpPr/>
            <p:nvPr/>
          </p:nvSpPr>
          <p:spPr>
            <a:xfrm rot="13511514">
              <a:off x="4785633" y="5624769"/>
              <a:ext cx="158623" cy="159155"/>
            </a:xfrm>
            <a:prstGeom prst="corner">
              <a:avLst>
                <a:gd name="adj1" fmla="val 35981"/>
                <a:gd name="adj2" fmla="val 34861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9" tIns="34289" rIns="68579" bIns="34289" rtlCol="0" anchor="ctr"/>
            <a:lstStyle/>
            <a:p>
              <a:pPr algn="just"/>
              <a:endParaRPr lang="ru-RU" sz="800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3" name="Фигура, имеющая форму буквы L 32"/>
            <p:cNvSpPr/>
            <p:nvPr/>
          </p:nvSpPr>
          <p:spPr>
            <a:xfrm rot="13511514">
              <a:off x="4794099" y="6014377"/>
              <a:ext cx="158623" cy="159155"/>
            </a:xfrm>
            <a:prstGeom prst="corner">
              <a:avLst>
                <a:gd name="adj1" fmla="val 35981"/>
                <a:gd name="adj2" fmla="val 34861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9" tIns="34289" rIns="68579" bIns="34289" rtlCol="0" anchor="ctr"/>
            <a:lstStyle/>
            <a:p>
              <a:pPr algn="just"/>
              <a:endParaRPr lang="ru-RU" sz="800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4" name="Фигура, имеющая форму буквы L 33"/>
            <p:cNvSpPr/>
            <p:nvPr/>
          </p:nvSpPr>
          <p:spPr>
            <a:xfrm rot="13511514">
              <a:off x="4785631" y="6390349"/>
              <a:ext cx="158623" cy="159155"/>
            </a:xfrm>
            <a:prstGeom prst="corner">
              <a:avLst>
                <a:gd name="adj1" fmla="val 35981"/>
                <a:gd name="adj2" fmla="val 34861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9" tIns="34289" rIns="68579" bIns="34289" rtlCol="0" anchor="ctr"/>
            <a:lstStyle/>
            <a:p>
              <a:pPr algn="just"/>
              <a:endParaRPr lang="ru-RU" sz="800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5099726" y="5474690"/>
              <a:ext cx="179047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Оснащенность</a:t>
              </a:r>
              <a:endParaRPr lang="ru-RU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5116658" y="5879738"/>
              <a:ext cx="170135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Исправность</a:t>
              </a:r>
              <a:endParaRPr lang="ru-RU" dirty="0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5082791" y="6256714"/>
              <a:ext cx="18194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Безопасность</a:t>
              </a:r>
              <a:endParaRPr lang="ru-RU" dirty="0"/>
            </a:p>
          </p:txBody>
        </p:sp>
        <p:pic>
          <p:nvPicPr>
            <p:cNvPr id="53" name="Picture 4">
              <a:extLst>
                <a:ext uri="{FF2B5EF4-FFF2-40B4-BE49-F238E27FC236}">
                  <a16:creationId xmlns="" xmlns:a16="http://schemas.microsoft.com/office/drawing/2014/main" id="{DCFD93D0-599A-4565-8C40-E6EB3CE144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16199" y="5824175"/>
              <a:ext cx="749300" cy="74930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5" name="Группа 54"/>
          <p:cNvGrpSpPr/>
          <p:nvPr/>
        </p:nvGrpSpPr>
        <p:grpSpPr>
          <a:xfrm>
            <a:off x="8061604" y="2990850"/>
            <a:ext cx="3463646" cy="1389142"/>
            <a:chOff x="-34646" y="4876966"/>
            <a:chExt cx="3463646" cy="1389142"/>
          </a:xfrm>
        </p:grpSpPr>
        <p:sp>
          <p:nvSpPr>
            <p:cNvPr id="24" name="Фигура, имеющая форму буквы L 23"/>
            <p:cNvSpPr/>
            <p:nvPr/>
          </p:nvSpPr>
          <p:spPr>
            <a:xfrm rot="13511514">
              <a:off x="1312401" y="5252799"/>
              <a:ext cx="158623" cy="159155"/>
            </a:xfrm>
            <a:prstGeom prst="corner">
              <a:avLst>
                <a:gd name="adj1" fmla="val 35981"/>
                <a:gd name="adj2" fmla="val 34861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9" tIns="34289" rIns="68579" bIns="34289" rtlCol="0" anchor="ctr"/>
            <a:lstStyle/>
            <a:p>
              <a:pPr algn="just"/>
              <a:endParaRPr lang="ru-RU" sz="800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5" name="Фигура, имеющая форму буквы L 24"/>
            <p:cNvSpPr/>
            <p:nvPr/>
          </p:nvSpPr>
          <p:spPr>
            <a:xfrm rot="13511514">
              <a:off x="1320867" y="5642407"/>
              <a:ext cx="158623" cy="159155"/>
            </a:xfrm>
            <a:prstGeom prst="corner">
              <a:avLst>
                <a:gd name="adj1" fmla="val 35981"/>
                <a:gd name="adj2" fmla="val 34861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9" tIns="34289" rIns="68579" bIns="34289" rtlCol="0" anchor="ctr"/>
            <a:lstStyle/>
            <a:p>
              <a:pPr algn="just"/>
              <a:endParaRPr lang="ru-RU" sz="800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6" name="Фигура, имеющая форму буквы L 25"/>
            <p:cNvSpPr/>
            <p:nvPr/>
          </p:nvSpPr>
          <p:spPr>
            <a:xfrm rot="13511514">
              <a:off x="1312399" y="6018379"/>
              <a:ext cx="158623" cy="159155"/>
            </a:xfrm>
            <a:prstGeom prst="corner">
              <a:avLst>
                <a:gd name="adj1" fmla="val 35981"/>
                <a:gd name="adj2" fmla="val 34861"/>
              </a:avLst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9" tIns="34289" rIns="68579" bIns="34289" rtlCol="0" anchor="ctr"/>
            <a:lstStyle/>
            <a:p>
              <a:pPr algn="just"/>
              <a:endParaRPr lang="ru-RU" sz="800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626494" y="5102720"/>
              <a:ext cx="179047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Компетентность</a:t>
              </a:r>
              <a:endParaRPr lang="ru-RU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643426" y="5507768"/>
              <a:ext cx="170135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Вовлеченность </a:t>
              </a:r>
              <a:endParaRPr lang="ru-RU" dirty="0"/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609559" y="5896776"/>
              <a:ext cx="18194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Ответственность</a:t>
              </a:r>
              <a:endParaRPr lang="ru-RU" dirty="0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-34646" y="4876966"/>
              <a:ext cx="1278912" cy="400105"/>
            </a:xfrm>
            <a:prstGeom prst="rect">
              <a:avLst/>
            </a:prstGeom>
            <a:noFill/>
          </p:spPr>
          <p:txBody>
            <a:bodyPr wrap="square" lIns="121917" tIns="60958" rIns="121917" bIns="60958" rtlCol="0">
              <a:spAutoFit/>
            </a:bodyPr>
            <a:lstStyle/>
            <a:p>
              <a:r>
                <a:rPr lang="ru-RU" b="1" dirty="0" smtClean="0"/>
                <a:t>Персонал</a:t>
              </a:r>
              <a:endParaRPr lang="ru-RU" b="1" dirty="0"/>
            </a:p>
          </p:txBody>
        </p:sp>
        <p:pic>
          <p:nvPicPr>
            <p:cNvPr id="54" name="Рисунок 53">
              <a:extLst>
                <a:ext uri="{FF2B5EF4-FFF2-40B4-BE49-F238E27FC236}">
                  <a16:creationId xmlns="" xmlns:a16="http://schemas.microsoft.com/office/drawing/2014/main" id="{4F9B9F74-D054-4846-9D44-373AE4B5F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59961" y="5360564"/>
              <a:ext cx="745067" cy="745067"/>
            </a:xfrm>
            <a:prstGeom prst="rect">
              <a:avLst/>
            </a:prstGeom>
            <a:noFill/>
          </p:spPr>
        </p:pic>
      </p:grpSp>
      <p:sp>
        <p:nvSpPr>
          <p:cNvPr id="38" name="Прямоугольник 37"/>
          <p:cNvSpPr/>
          <p:nvPr/>
        </p:nvSpPr>
        <p:spPr>
          <a:xfrm>
            <a:off x="276225" y="1304925"/>
            <a:ext cx="6829425" cy="1415768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just"/>
            <a:r>
              <a:rPr lang="ru-RU" sz="1400" b="1" dirty="0" smtClean="0">
                <a:latin typeface="Verdana" pitchFamily="34" charset="0"/>
                <a:ea typeface="Verdana" pitchFamily="34" charset="0"/>
              </a:rPr>
              <a:t>Культура безопасности труда </a:t>
            </a:r>
            <a:r>
              <a:rPr lang="ru-RU" sz="1400" dirty="0" smtClean="0">
                <a:latin typeface="Verdana" pitchFamily="34" charset="0"/>
                <a:ea typeface="Verdana" pitchFamily="34" charset="0"/>
              </a:rPr>
              <a:t>- осознание важности, ответственности и способность работников ОАО «РЖД» обеспечивать безопасность труда, как главную ценность для компании и каждого работника при реализации соответствующих прав, обязанностей и ответственности, основанной на взаимосогласованной позиции на всех уровнях управления ОАО «РЖД» </a:t>
            </a:r>
            <a:endParaRPr lang="ru-RU" sz="1400" dirty="0">
              <a:latin typeface="Verdana" pitchFamily="34" charset="0"/>
              <a:ea typeface="Verdana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161925" y="4324350"/>
            <a:ext cx="7724775" cy="353939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just"/>
            <a:r>
              <a:rPr lang="ru-RU" sz="1500" b="1" dirty="0" smtClean="0">
                <a:latin typeface="Verdana" pitchFamily="34" charset="0"/>
                <a:ea typeface="Verdana" pitchFamily="34" charset="0"/>
              </a:rPr>
              <a:t>Принципы формирования и поддержания культуры безопасности</a:t>
            </a:r>
            <a:endParaRPr lang="ru-RU" sz="1500" dirty="0">
              <a:latin typeface="Verdana" pitchFamily="34" charset="0"/>
              <a:ea typeface="Verdana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314325" y="4876800"/>
            <a:ext cx="2533650" cy="338550"/>
          </a:xfrm>
          <a:prstGeom prst="rect">
            <a:avLst/>
          </a:prstGeom>
          <a:ln cap="rnd">
            <a:noFill/>
          </a:ln>
        </p:spPr>
        <p:txBody>
          <a:bodyPr wrap="square" lIns="121917" tIns="60958" rIns="121917" bIns="60958">
            <a:spAutoFit/>
          </a:bodyPr>
          <a:lstStyle/>
          <a:p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Приоритет безопасности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304800" y="5257800"/>
            <a:ext cx="3676650" cy="338550"/>
          </a:xfrm>
          <a:prstGeom prst="rect">
            <a:avLst/>
          </a:prstGeom>
          <a:ln cap="rnd">
            <a:noFill/>
          </a:ln>
        </p:spPr>
        <p:txBody>
          <a:bodyPr wrap="square" lIns="121917" tIns="60958" rIns="121917" bIns="60958">
            <a:spAutoFit/>
          </a:bodyPr>
          <a:lstStyle/>
          <a:p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Профессионализм и квалификация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295274" y="5676900"/>
            <a:ext cx="3648075" cy="338550"/>
          </a:xfrm>
          <a:prstGeom prst="rect">
            <a:avLst/>
          </a:prstGeom>
          <a:ln cap="rnd">
            <a:noFill/>
          </a:ln>
        </p:spPr>
        <p:txBody>
          <a:bodyPr wrap="square" lIns="121917" tIns="60958" rIns="121917" bIns="60958">
            <a:spAutoFit/>
          </a:bodyPr>
          <a:lstStyle/>
          <a:p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Дисциплина и ответственность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295275" y="6116900"/>
            <a:ext cx="3933825" cy="338550"/>
          </a:xfrm>
          <a:prstGeom prst="rect">
            <a:avLst/>
          </a:prstGeom>
          <a:ln cap="rnd">
            <a:noFill/>
          </a:ln>
        </p:spPr>
        <p:txBody>
          <a:bodyPr wrap="square" lIns="121917" tIns="60958" rIns="121917" bIns="60958">
            <a:spAutoFit/>
          </a:bodyPr>
          <a:lstStyle/>
          <a:p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Соблюдение инструкций, регламентов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4238625" y="4852575"/>
            <a:ext cx="2533650" cy="338550"/>
          </a:xfrm>
          <a:prstGeom prst="rect">
            <a:avLst/>
          </a:prstGeom>
          <a:ln cap="rnd">
            <a:noFill/>
          </a:ln>
        </p:spPr>
        <p:txBody>
          <a:bodyPr wrap="square" lIns="121917" tIns="60958" rIns="121917" bIns="60958">
            <a:spAutoFit/>
          </a:bodyPr>
          <a:lstStyle/>
          <a:p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Атмосфера доверия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4229100" y="5219700"/>
            <a:ext cx="3143249" cy="338550"/>
          </a:xfrm>
          <a:prstGeom prst="rect">
            <a:avLst/>
          </a:prstGeom>
          <a:ln cap="rnd">
            <a:noFill/>
          </a:ln>
        </p:spPr>
        <p:txBody>
          <a:bodyPr wrap="square" lIns="121917" tIns="60958" rIns="121917" bIns="60958">
            <a:spAutoFit/>
          </a:bodyPr>
          <a:lstStyle/>
          <a:p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Понимание последствий</a:t>
            </a:r>
            <a:endParaRPr lang="ru-RU" sz="14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4219574" y="6115050"/>
            <a:ext cx="4371975" cy="338550"/>
          </a:xfrm>
          <a:prstGeom prst="rect">
            <a:avLst/>
          </a:prstGeom>
          <a:ln cap="rnd">
            <a:noFill/>
          </a:ln>
        </p:spPr>
        <p:txBody>
          <a:bodyPr wrap="square" lIns="121917" tIns="60958" rIns="121917" bIns="60958">
            <a:spAutoFit/>
          </a:bodyPr>
          <a:lstStyle/>
          <a:p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Открытость и самосовершенствование</a:t>
            </a:r>
            <a:endParaRPr lang="ru-RU" sz="14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4191000" y="5657850"/>
            <a:ext cx="2914649" cy="338550"/>
          </a:xfrm>
          <a:prstGeom prst="rect">
            <a:avLst/>
          </a:prstGeom>
          <a:ln cap="rnd">
            <a:noFill/>
          </a:ln>
        </p:spPr>
        <p:txBody>
          <a:bodyPr wrap="square" lIns="121917" tIns="60958" rIns="121917" bIns="60958">
            <a:spAutoFit/>
          </a:bodyPr>
          <a:lstStyle/>
          <a:p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Самоконтроль и мотивация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373608" y="2970342"/>
            <a:ext cx="710351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latin typeface="Verdana" pitchFamily="34" charset="0"/>
                <a:ea typeface="Verdana" pitchFamily="34" charset="0"/>
              </a:rPr>
              <a:t>Культура безопасности – </a:t>
            </a:r>
            <a:r>
              <a:rPr lang="ru-RU" sz="1400" dirty="0" smtClean="0">
                <a:latin typeface="Verdana" pitchFamily="34" charset="0"/>
                <a:ea typeface="Verdana" pitchFamily="34" charset="0"/>
              </a:rPr>
              <a:t>это такая культура поведения, когда работник выполняет все инструкции, правила и регламенты в тот момент, когда за ним никто не наблюдает </a:t>
            </a:r>
          </a:p>
          <a:p>
            <a:pPr algn="just"/>
            <a:r>
              <a:rPr lang="ru-RU" sz="1400" dirty="0" smtClean="0">
                <a:latin typeface="Verdana" pitchFamily="34" charset="0"/>
                <a:ea typeface="Verdana" pitchFamily="34" charset="0"/>
              </a:rPr>
              <a:t>(Профессор Стэнли </a:t>
            </a:r>
            <a:r>
              <a:rPr lang="ru-RU" sz="1400" dirty="0" err="1" smtClean="0">
                <a:latin typeface="Verdana" pitchFamily="34" charset="0"/>
                <a:ea typeface="Verdana" pitchFamily="34" charset="0"/>
              </a:rPr>
              <a:t>Дитс</a:t>
            </a:r>
            <a:r>
              <a:rPr lang="ru-RU" sz="1400" dirty="0" smtClean="0">
                <a:latin typeface="Verdana" pitchFamily="34" charset="0"/>
                <a:ea typeface="Verdana" pitchFamily="34" charset="0"/>
              </a:rPr>
              <a:t> </a:t>
            </a:r>
            <a:r>
              <a:rPr lang="en-US" sz="1400" dirty="0" smtClean="0">
                <a:latin typeface="Verdana" pitchFamily="34" charset="0"/>
                <a:ea typeface="Verdana" pitchFamily="34" charset="0"/>
              </a:rPr>
              <a:t>University of Colorado Boulder</a:t>
            </a:r>
            <a:r>
              <a:rPr lang="en-US" dirty="0" smtClean="0">
                <a:latin typeface="Verdana" pitchFamily="34" charset="0"/>
                <a:ea typeface="Verdana" pitchFamily="34" charset="0"/>
              </a:rPr>
              <a:t>) </a:t>
            </a:r>
            <a:endParaRPr lang="ru-RU" dirty="0">
              <a:latin typeface="Verdana" pitchFamily="34" charset="0"/>
              <a:ea typeface="Verdana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7024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7">
            <a:extLst>
              <a:ext uri="{FF2B5EF4-FFF2-40B4-BE49-F238E27FC236}">
                <a16:creationId xmlns="" xmlns:a16="http://schemas.microsoft.com/office/drawing/2014/main" id="{EABA64CE-20F1-8710-221E-52062DF6A611}"/>
              </a:ext>
            </a:extLst>
          </p:cNvPr>
          <p:cNvSpPr/>
          <p:nvPr/>
        </p:nvSpPr>
        <p:spPr>
          <a:xfrm rot="5400000" flipV="1">
            <a:off x="-272780" y="272780"/>
            <a:ext cx="6858000" cy="6312439"/>
          </a:xfrm>
          <a:custGeom>
            <a:avLst/>
            <a:gdLst>
              <a:gd name="connsiteX0" fmla="*/ 0 w 12192000"/>
              <a:gd name="connsiteY0" fmla="*/ 0 h 1958338"/>
              <a:gd name="connsiteX1" fmla="*/ 12192000 w 12192000"/>
              <a:gd name="connsiteY1" fmla="*/ 0 h 1958338"/>
              <a:gd name="connsiteX2" fmla="*/ 12192000 w 12192000"/>
              <a:gd name="connsiteY2" fmla="*/ 1958338 h 1958338"/>
              <a:gd name="connsiteX3" fmla="*/ 0 w 12192000"/>
              <a:gd name="connsiteY3" fmla="*/ 1958338 h 1958338"/>
              <a:gd name="connsiteX4" fmla="*/ 0 w 12192000"/>
              <a:gd name="connsiteY4" fmla="*/ 0 h 1958338"/>
              <a:gd name="connsiteX0" fmla="*/ 0 w 12192000"/>
              <a:gd name="connsiteY0" fmla="*/ 0 h 1958338"/>
              <a:gd name="connsiteX1" fmla="*/ 12192000 w 12192000"/>
              <a:gd name="connsiteY1" fmla="*/ 0 h 1958338"/>
              <a:gd name="connsiteX2" fmla="*/ 12192000 w 12192000"/>
              <a:gd name="connsiteY2" fmla="*/ 1958338 h 1958338"/>
              <a:gd name="connsiteX3" fmla="*/ 4039437 w 12192000"/>
              <a:gd name="connsiteY3" fmla="*/ 1326382 h 1958338"/>
              <a:gd name="connsiteX4" fmla="*/ 0 w 12192000"/>
              <a:gd name="connsiteY4" fmla="*/ 1958338 h 1958338"/>
              <a:gd name="connsiteX5" fmla="*/ 0 w 12192000"/>
              <a:gd name="connsiteY5" fmla="*/ 0 h 1958338"/>
              <a:gd name="connsiteX0" fmla="*/ 0 w 12192000"/>
              <a:gd name="connsiteY0" fmla="*/ 0 h 2009635"/>
              <a:gd name="connsiteX1" fmla="*/ 12192000 w 12192000"/>
              <a:gd name="connsiteY1" fmla="*/ 0 h 2009635"/>
              <a:gd name="connsiteX2" fmla="*/ 12192000 w 12192000"/>
              <a:gd name="connsiteY2" fmla="*/ 1958338 h 2009635"/>
              <a:gd name="connsiteX3" fmla="*/ 8852598 w 12192000"/>
              <a:gd name="connsiteY3" fmla="*/ 1115367 h 2009635"/>
              <a:gd name="connsiteX4" fmla="*/ 4039437 w 12192000"/>
              <a:gd name="connsiteY4" fmla="*/ 1326382 h 2009635"/>
              <a:gd name="connsiteX5" fmla="*/ 0 w 12192000"/>
              <a:gd name="connsiteY5" fmla="*/ 1958338 h 2009635"/>
              <a:gd name="connsiteX6" fmla="*/ 0 w 12192000"/>
              <a:gd name="connsiteY6" fmla="*/ 0 h 2009635"/>
              <a:gd name="connsiteX0" fmla="*/ 0 w 12192000"/>
              <a:gd name="connsiteY0" fmla="*/ 0 h 2019002"/>
              <a:gd name="connsiteX1" fmla="*/ 12192000 w 12192000"/>
              <a:gd name="connsiteY1" fmla="*/ 0 h 2019002"/>
              <a:gd name="connsiteX2" fmla="*/ 12192000 w 12192000"/>
              <a:gd name="connsiteY2" fmla="*/ 1958338 h 2019002"/>
              <a:gd name="connsiteX3" fmla="*/ 8892791 w 12192000"/>
              <a:gd name="connsiteY3" fmla="*/ 1306286 h 2019002"/>
              <a:gd name="connsiteX4" fmla="*/ 4039437 w 12192000"/>
              <a:gd name="connsiteY4" fmla="*/ 1326382 h 2019002"/>
              <a:gd name="connsiteX5" fmla="*/ 0 w 12192000"/>
              <a:gd name="connsiteY5" fmla="*/ 1958338 h 2019002"/>
              <a:gd name="connsiteX6" fmla="*/ 0 w 12192000"/>
              <a:gd name="connsiteY6" fmla="*/ 0 h 2019002"/>
              <a:gd name="connsiteX0" fmla="*/ 0 w 12192000"/>
              <a:gd name="connsiteY0" fmla="*/ 0 h 2013003"/>
              <a:gd name="connsiteX1" fmla="*/ 12192000 w 12192000"/>
              <a:gd name="connsiteY1" fmla="*/ 0 h 2013003"/>
              <a:gd name="connsiteX2" fmla="*/ 12192000 w 12192000"/>
              <a:gd name="connsiteY2" fmla="*/ 1958338 h 2013003"/>
              <a:gd name="connsiteX3" fmla="*/ 8892791 w 12192000"/>
              <a:gd name="connsiteY3" fmla="*/ 1306286 h 2013003"/>
              <a:gd name="connsiteX4" fmla="*/ 4039437 w 12192000"/>
              <a:gd name="connsiteY4" fmla="*/ 1326382 h 2013003"/>
              <a:gd name="connsiteX5" fmla="*/ 0 w 12192000"/>
              <a:gd name="connsiteY5" fmla="*/ 1958338 h 2013003"/>
              <a:gd name="connsiteX6" fmla="*/ 0 w 12192000"/>
              <a:gd name="connsiteY6" fmla="*/ 0 h 2013003"/>
              <a:gd name="connsiteX0" fmla="*/ 0 w 12192000"/>
              <a:gd name="connsiteY0" fmla="*/ 0 h 2013003"/>
              <a:gd name="connsiteX1" fmla="*/ 12192000 w 12192000"/>
              <a:gd name="connsiteY1" fmla="*/ 0 h 2013003"/>
              <a:gd name="connsiteX2" fmla="*/ 12192000 w 12192000"/>
              <a:gd name="connsiteY2" fmla="*/ 1958338 h 2013003"/>
              <a:gd name="connsiteX3" fmla="*/ 8892791 w 12192000"/>
              <a:gd name="connsiteY3" fmla="*/ 1306286 h 2013003"/>
              <a:gd name="connsiteX4" fmla="*/ 8875597 w 12192000"/>
              <a:gd name="connsiteY4" fmla="*/ 1942755 h 2013003"/>
              <a:gd name="connsiteX5" fmla="*/ 0 w 12192000"/>
              <a:gd name="connsiteY5" fmla="*/ 1958338 h 2013003"/>
              <a:gd name="connsiteX6" fmla="*/ 0 w 12192000"/>
              <a:gd name="connsiteY6" fmla="*/ 0 h 2013003"/>
              <a:gd name="connsiteX0" fmla="*/ 0 w 12192000"/>
              <a:gd name="connsiteY0" fmla="*/ 0 h 2013003"/>
              <a:gd name="connsiteX1" fmla="*/ 12192000 w 12192000"/>
              <a:gd name="connsiteY1" fmla="*/ 0 h 2013003"/>
              <a:gd name="connsiteX2" fmla="*/ 12192000 w 12192000"/>
              <a:gd name="connsiteY2" fmla="*/ 1958338 h 2013003"/>
              <a:gd name="connsiteX3" fmla="*/ 8892791 w 12192000"/>
              <a:gd name="connsiteY3" fmla="*/ 1306286 h 2013003"/>
              <a:gd name="connsiteX4" fmla="*/ 8875597 w 12192000"/>
              <a:gd name="connsiteY4" fmla="*/ 1942755 h 2013003"/>
              <a:gd name="connsiteX5" fmla="*/ 0 w 12192000"/>
              <a:gd name="connsiteY5" fmla="*/ 1958338 h 2013003"/>
              <a:gd name="connsiteX6" fmla="*/ 0 w 12192000"/>
              <a:gd name="connsiteY6" fmla="*/ 0 h 2013003"/>
              <a:gd name="connsiteX0" fmla="*/ 0 w 12192000"/>
              <a:gd name="connsiteY0" fmla="*/ 0 h 2004488"/>
              <a:gd name="connsiteX1" fmla="*/ 12192000 w 12192000"/>
              <a:gd name="connsiteY1" fmla="*/ 0 h 2004488"/>
              <a:gd name="connsiteX2" fmla="*/ 12192000 w 12192000"/>
              <a:gd name="connsiteY2" fmla="*/ 1958338 h 2004488"/>
              <a:gd name="connsiteX3" fmla="*/ 9543666 w 12192000"/>
              <a:gd name="connsiteY3" fmla="*/ 1093561 h 2004488"/>
              <a:gd name="connsiteX4" fmla="*/ 8875597 w 12192000"/>
              <a:gd name="connsiteY4" fmla="*/ 1942755 h 2004488"/>
              <a:gd name="connsiteX5" fmla="*/ 0 w 12192000"/>
              <a:gd name="connsiteY5" fmla="*/ 1958338 h 2004488"/>
              <a:gd name="connsiteX6" fmla="*/ 0 w 12192000"/>
              <a:gd name="connsiteY6" fmla="*/ 0 h 2004488"/>
              <a:gd name="connsiteX0" fmla="*/ 0 w 12192000"/>
              <a:gd name="connsiteY0" fmla="*/ 0 h 2020536"/>
              <a:gd name="connsiteX1" fmla="*/ 12192000 w 12192000"/>
              <a:gd name="connsiteY1" fmla="*/ 0 h 2020536"/>
              <a:gd name="connsiteX2" fmla="*/ 12192000 w 12192000"/>
              <a:gd name="connsiteY2" fmla="*/ 1958338 h 2020536"/>
              <a:gd name="connsiteX3" fmla="*/ 9280141 w 12192000"/>
              <a:gd name="connsiteY3" fmla="*/ 1445986 h 2020536"/>
              <a:gd name="connsiteX4" fmla="*/ 8875597 w 12192000"/>
              <a:gd name="connsiteY4" fmla="*/ 1942755 h 2020536"/>
              <a:gd name="connsiteX5" fmla="*/ 0 w 12192000"/>
              <a:gd name="connsiteY5" fmla="*/ 1958338 h 2020536"/>
              <a:gd name="connsiteX6" fmla="*/ 0 w 12192000"/>
              <a:gd name="connsiteY6" fmla="*/ 0 h 2020536"/>
              <a:gd name="connsiteX0" fmla="*/ 0 w 12192000"/>
              <a:gd name="connsiteY0" fmla="*/ 0 h 2020536"/>
              <a:gd name="connsiteX1" fmla="*/ 12192000 w 12192000"/>
              <a:gd name="connsiteY1" fmla="*/ 0 h 2020536"/>
              <a:gd name="connsiteX2" fmla="*/ 12192000 w 12192000"/>
              <a:gd name="connsiteY2" fmla="*/ 1958338 h 2020536"/>
              <a:gd name="connsiteX3" fmla="*/ 9280141 w 12192000"/>
              <a:gd name="connsiteY3" fmla="*/ 1445986 h 2020536"/>
              <a:gd name="connsiteX4" fmla="*/ 8875597 w 12192000"/>
              <a:gd name="connsiteY4" fmla="*/ 1942755 h 2020536"/>
              <a:gd name="connsiteX5" fmla="*/ 0 w 12192000"/>
              <a:gd name="connsiteY5" fmla="*/ 1958338 h 2020536"/>
              <a:gd name="connsiteX6" fmla="*/ 0 w 12192000"/>
              <a:gd name="connsiteY6" fmla="*/ 0 h 2020536"/>
              <a:gd name="connsiteX0" fmla="*/ 0 w 12192000"/>
              <a:gd name="connsiteY0" fmla="*/ 0 h 2015853"/>
              <a:gd name="connsiteX1" fmla="*/ 12192000 w 12192000"/>
              <a:gd name="connsiteY1" fmla="*/ 0 h 2015853"/>
              <a:gd name="connsiteX2" fmla="*/ 12192000 w 12192000"/>
              <a:gd name="connsiteY2" fmla="*/ 1958338 h 2015853"/>
              <a:gd name="connsiteX3" fmla="*/ 9197591 w 12192000"/>
              <a:gd name="connsiteY3" fmla="*/ 1363436 h 2015853"/>
              <a:gd name="connsiteX4" fmla="*/ 8875597 w 12192000"/>
              <a:gd name="connsiteY4" fmla="*/ 1942755 h 2015853"/>
              <a:gd name="connsiteX5" fmla="*/ 0 w 12192000"/>
              <a:gd name="connsiteY5" fmla="*/ 1958338 h 2015853"/>
              <a:gd name="connsiteX6" fmla="*/ 0 w 12192000"/>
              <a:gd name="connsiteY6" fmla="*/ 0 h 2015853"/>
              <a:gd name="connsiteX0" fmla="*/ 0 w 12192000"/>
              <a:gd name="connsiteY0" fmla="*/ 0 h 2019767"/>
              <a:gd name="connsiteX1" fmla="*/ 12192000 w 12192000"/>
              <a:gd name="connsiteY1" fmla="*/ 0 h 2019767"/>
              <a:gd name="connsiteX2" fmla="*/ 12192000 w 12192000"/>
              <a:gd name="connsiteY2" fmla="*/ 1958338 h 2019767"/>
              <a:gd name="connsiteX3" fmla="*/ 9264266 w 12192000"/>
              <a:gd name="connsiteY3" fmla="*/ 1433286 h 2019767"/>
              <a:gd name="connsiteX4" fmla="*/ 8875597 w 12192000"/>
              <a:gd name="connsiteY4" fmla="*/ 1942755 h 2019767"/>
              <a:gd name="connsiteX5" fmla="*/ 0 w 12192000"/>
              <a:gd name="connsiteY5" fmla="*/ 1958338 h 2019767"/>
              <a:gd name="connsiteX6" fmla="*/ 0 w 12192000"/>
              <a:gd name="connsiteY6" fmla="*/ 0 h 2019767"/>
              <a:gd name="connsiteX0" fmla="*/ 0 w 12192000"/>
              <a:gd name="connsiteY0" fmla="*/ 0 h 2193580"/>
              <a:gd name="connsiteX1" fmla="*/ 12192000 w 12192000"/>
              <a:gd name="connsiteY1" fmla="*/ 0 h 2193580"/>
              <a:gd name="connsiteX2" fmla="*/ 12192000 w 12192000"/>
              <a:gd name="connsiteY2" fmla="*/ 1958338 h 2193580"/>
              <a:gd name="connsiteX3" fmla="*/ 9264266 w 12192000"/>
              <a:gd name="connsiteY3" fmla="*/ 1433286 h 2193580"/>
              <a:gd name="connsiteX4" fmla="*/ 9545522 w 12192000"/>
              <a:gd name="connsiteY4" fmla="*/ 2193580 h 2193580"/>
              <a:gd name="connsiteX5" fmla="*/ 0 w 12192000"/>
              <a:gd name="connsiteY5" fmla="*/ 1958338 h 2193580"/>
              <a:gd name="connsiteX6" fmla="*/ 0 w 12192000"/>
              <a:gd name="connsiteY6" fmla="*/ 0 h 2193580"/>
              <a:gd name="connsiteX0" fmla="*/ 0 w 12192000"/>
              <a:gd name="connsiteY0" fmla="*/ 0 h 2193580"/>
              <a:gd name="connsiteX1" fmla="*/ 12192000 w 12192000"/>
              <a:gd name="connsiteY1" fmla="*/ 0 h 2193580"/>
              <a:gd name="connsiteX2" fmla="*/ 12192000 w 12192000"/>
              <a:gd name="connsiteY2" fmla="*/ 1958338 h 2193580"/>
              <a:gd name="connsiteX3" fmla="*/ 9264266 w 12192000"/>
              <a:gd name="connsiteY3" fmla="*/ 1433286 h 2193580"/>
              <a:gd name="connsiteX4" fmla="*/ 9545522 w 12192000"/>
              <a:gd name="connsiteY4" fmla="*/ 2193580 h 2193580"/>
              <a:gd name="connsiteX5" fmla="*/ 0 w 12192000"/>
              <a:gd name="connsiteY5" fmla="*/ 1958338 h 2193580"/>
              <a:gd name="connsiteX6" fmla="*/ 0 w 12192000"/>
              <a:gd name="connsiteY6" fmla="*/ 0 h 2193580"/>
              <a:gd name="connsiteX0" fmla="*/ 0 w 12192000"/>
              <a:gd name="connsiteY0" fmla="*/ 0 h 2019767"/>
              <a:gd name="connsiteX1" fmla="*/ 12192000 w 12192000"/>
              <a:gd name="connsiteY1" fmla="*/ 0 h 2019767"/>
              <a:gd name="connsiteX2" fmla="*/ 12192000 w 12192000"/>
              <a:gd name="connsiteY2" fmla="*/ 1958338 h 2019767"/>
              <a:gd name="connsiteX3" fmla="*/ 9264266 w 12192000"/>
              <a:gd name="connsiteY3" fmla="*/ 1433286 h 2019767"/>
              <a:gd name="connsiteX4" fmla="*/ 8869247 w 12192000"/>
              <a:gd name="connsiteY4" fmla="*/ 1514130 h 2019767"/>
              <a:gd name="connsiteX5" fmla="*/ 0 w 12192000"/>
              <a:gd name="connsiteY5" fmla="*/ 1958338 h 2019767"/>
              <a:gd name="connsiteX6" fmla="*/ 0 w 12192000"/>
              <a:gd name="connsiteY6" fmla="*/ 0 h 2019767"/>
              <a:gd name="connsiteX0" fmla="*/ 0 w 12192000"/>
              <a:gd name="connsiteY0" fmla="*/ 0 h 2019767"/>
              <a:gd name="connsiteX1" fmla="*/ 12192000 w 12192000"/>
              <a:gd name="connsiteY1" fmla="*/ 0 h 2019767"/>
              <a:gd name="connsiteX2" fmla="*/ 12192000 w 12192000"/>
              <a:gd name="connsiteY2" fmla="*/ 1958338 h 2019767"/>
              <a:gd name="connsiteX3" fmla="*/ 9264266 w 12192000"/>
              <a:gd name="connsiteY3" fmla="*/ 1433286 h 2019767"/>
              <a:gd name="connsiteX4" fmla="*/ 8859722 w 12192000"/>
              <a:gd name="connsiteY4" fmla="*/ 1955455 h 2019767"/>
              <a:gd name="connsiteX5" fmla="*/ 0 w 12192000"/>
              <a:gd name="connsiteY5" fmla="*/ 1958338 h 2019767"/>
              <a:gd name="connsiteX6" fmla="*/ 0 w 12192000"/>
              <a:gd name="connsiteY6" fmla="*/ 0 h 2019767"/>
              <a:gd name="connsiteX0" fmla="*/ 0 w 12192000"/>
              <a:gd name="connsiteY0" fmla="*/ 0 h 2019767"/>
              <a:gd name="connsiteX1" fmla="*/ 12192000 w 12192000"/>
              <a:gd name="connsiteY1" fmla="*/ 0 h 2019767"/>
              <a:gd name="connsiteX2" fmla="*/ 12192000 w 12192000"/>
              <a:gd name="connsiteY2" fmla="*/ 1958338 h 2019767"/>
              <a:gd name="connsiteX3" fmla="*/ 9264266 w 12192000"/>
              <a:gd name="connsiteY3" fmla="*/ 1433286 h 2019767"/>
              <a:gd name="connsiteX4" fmla="*/ 8859722 w 12192000"/>
              <a:gd name="connsiteY4" fmla="*/ 1955455 h 2019767"/>
              <a:gd name="connsiteX5" fmla="*/ 0 w 12192000"/>
              <a:gd name="connsiteY5" fmla="*/ 1958338 h 2019767"/>
              <a:gd name="connsiteX6" fmla="*/ 0 w 12192000"/>
              <a:gd name="connsiteY6" fmla="*/ 0 h 2019767"/>
              <a:gd name="connsiteX0" fmla="*/ 0 w 12192000"/>
              <a:gd name="connsiteY0" fmla="*/ 0 h 2004381"/>
              <a:gd name="connsiteX1" fmla="*/ 12192000 w 12192000"/>
              <a:gd name="connsiteY1" fmla="*/ 0 h 2004381"/>
              <a:gd name="connsiteX2" fmla="*/ 12192000 w 12192000"/>
              <a:gd name="connsiteY2" fmla="*/ 1958338 h 2004381"/>
              <a:gd name="connsiteX3" fmla="*/ 9407141 w 12192000"/>
              <a:gd name="connsiteY3" fmla="*/ 1090386 h 2004381"/>
              <a:gd name="connsiteX4" fmla="*/ 8859722 w 12192000"/>
              <a:gd name="connsiteY4" fmla="*/ 1955455 h 2004381"/>
              <a:gd name="connsiteX5" fmla="*/ 0 w 12192000"/>
              <a:gd name="connsiteY5" fmla="*/ 1958338 h 2004381"/>
              <a:gd name="connsiteX6" fmla="*/ 0 w 12192000"/>
              <a:gd name="connsiteY6" fmla="*/ 0 h 2004381"/>
              <a:gd name="connsiteX0" fmla="*/ 0 w 12192000"/>
              <a:gd name="connsiteY0" fmla="*/ 0 h 2020974"/>
              <a:gd name="connsiteX1" fmla="*/ 12192000 w 12192000"/>
              <a:gd name="connsiteY1" fmla="*/ 0 h 2020974"/>
              <a:gd name="connsiteX2" fmla="*/ 12192000 w 12192000"/>
              <a:gd name="connsiteY2" fmla="*/ 1958338 h 2020974"/>
              <a:gd name="connsiteX3" fmla="*/ 9407141 w 12192000"/>
              <a:gd name="connsiteY3" fmla="*/ 1090386 h 2020974"/>
              <a:gd name="connsiteX4" fmla="*/ 8859722 w 12192000"/>
              <a:gd name="connsiteY4" fmla="*/ 1955455 h 2020974"/>
              <a:gd name="connsiteX5" fmla="*/ 0 w 12192000"/>
              <a:gd name="connsiteY5" fmla="*/ 1958338 h 2020974"/>
              <a:gd name="connsiteX6" fmla="*/ 0 w 12192000"/>
              <a:gd name="connsiteY6" fmla="*/ 0 h 2020974"/>
              <a:gd name="connsiteX0" fmla="*/ 0 w 12192000"/>
              <a:gd name="connsiteY0" fmla="*/ 0 h 1998527"/>
              <a:gd name="connsiteX1" fmla="*/ 12192000 w 12192000"/>
              <a:gd name="connsiteY1" fmla="*/ 0 h 1998527"/>
              <a:gd name="connsiteX2" fmla="*/ 12192000 w 12192000"/>
              <a:gd name="connsiteY2" fmla="*/ 1958338 h 1998527"/>
              <a:gd name="connsiteX3" fmla="*/ 9407141 w 12192000"/>
              <a:gd name="connsiteY3" fmla="*/ 1090386 h 1998527"/>
              <a:gd name="connsiteX4" fmla="*/ 8859722 w 12192000"/>
              <a:gd name="connsiteY4" fmla="*/ 1955455 h 1998527"/>
              <a:gd name="connsiteX5" fmla="*/ 0 w 12192000"/>
              <a:gd name="connsiteY5" fmla="*/ 1958338 h 1998527"/>
              <a:gd name="connsiteX6" fmla="*/ 0 w 12192000"/>
              <a:gd name="connsiteY6" fmla="*/ 0 h 1998527"/>
              <a:gd name="connsiteX0" fmla="*/ 0 w 12192000"/>
              <a:gd name="connsiteY0" fmla="*/ 0 h 2010143"/>
              <a:gd name="connsiteX1" fmla="*/ 12192000 w 12192000"/>
              <a:gd name="connsiteY1" fmla="*/ 0 h 2010143"/>
              <a:gd name="connsiteX2" fmla="*/ 12192000 w 12192000"/>
              <a:gd name="connsiteY2" fmla="*/ 1958338 h 2010143"/>
              <a:gd name="connsiteX3" fmla="*/ 9267441 w 12192000"/>
              <a:gd name="connsiteY3" fmla="*/ 1439636 h 2010143"/>
              <a:gd name="connsiteX4" fmla="*/ 8859722 w 12192000"/>
              <a:gd name="connsiteY4" fmla="*/ 1955455 h 2010143"/>
              <a:gd name="connsiteX5" fmla="*/ 0 w 12192000"/>
              <a:gd name="connsiteY5" fmla="*/ 1958338 h 2010143"/>
              <a:gd name="connsiteX6" fmla="*/ 0 w 12192000"/>
              <a:gd name="connsiteY6" fmla="*/ 0 h 2010143"/>
              <a:gd name="connsiteX0" fmla="*/ 0 w 12192000"/>
              <a:gd name="connsiteY0" fmla="*/ 0 h 2021257"/>
              <a:gd name="connsiteX1" fmla="*/ 12192000 w 12192000"/>
              <a:gd name="connsiteY1" fmla="*/ 0 h 2021257"/>
              <a:gd name="connsiteX2" fmla="*/ 12192000 w 12192000"/>
              <a:gd name="connsiteY2" fmla="*/ 1958338 h 2021257"/>
              <a:gd name="connsiteX3" fmla="*/ 9267441 w 12192000"/>
              <a:gd name="connsiteY3" fmla="*/ 1439636 h 2021257"/>
              <a:gd name="connsiteX4" fmla="*/ 8859722 w 12192000"/>
              <a:gd name="connsiteY4" fmla="*/ 1955455 h 2021257"/>
              <a:gd name="connsiteX5" fmla="*/ 0 w 12192000"/>
              <a:gd name="connsiteY5" fmla="*/ 1958338 h 2021257"/>
              <a:gd name="connsiteX6" fmla="*/ 0 w 12192000"/>
              <a:gd name="connsiteY6" fmla="*/ 0 h 2021257"/>
              <a:gd name="connsiteX0" fmla="*/ 0 w 12192000"/>
              <a:gd name="connsiteY0" fmla="*/ 0 h 2010797"/>
              <a:gd name="connsiteX1" fmla="*/ 12192000 w 12192000"/>
              <a:gd name="connsiteY1" fmla="*/ 0 h 2010797"/>
              <a:gd name="connsiteX2" fmla="*/ 12192000 w 12192000"/>
              <a:gd name="connsiteY2" fmla="*/ 1958338 h 2010797"/>
              <a:gd name="connsiteX3" fmla="*/ 9267441 w 12192000"/>
              <a:gd name="connsiteY3" fmla="*/ 1239611 h 2010797"/>
              <a:gd name="connsiteX4" fmla="*/ 8859722 w 12192000"/>
              <a:gd name="connsiteY4" fmla="*/ 1955455 h 2010797"/>
              <a:gd name="connsiteX5" fmla="*/ 0 w 12192000"/>
              <a:gd name="connsiteY5" fmla="*/ 1958338 h 2010797"/>
              <a:gd name="connsiteX6" fmla="*/ 0 w 12192000"/>
              <a:gd name="connsiteY6" fmla="*/ 0 h 2010797"/>
              <a:gd name="connsiteX0" fmla="*/ 0 w 12192000"/>
              <a:gd name="connsiteY0" fmla="*/ 0 h 2020666"/>
              <a:gd name="connsiteX1" fmla="*/ 12192000 w 12192000"/>
              <a:gd name="connsiteY1" fmla="*/ 0 h 2020666"/>
              <a:gd name="connsiteX2" fmla="*/ 12192000 w 12192000"/>
              <a:gd name="connsiteY2" fmla="*/ 1958338 h 2020666"/>
              <a:gd name="connsiteX3" fmla="*/ 9267441 w 12192000"/>
              <a:gd name="connsiteY3" fmla="*/ 1430111 h 2020666"/>
              <a:gd name="connsiteX4" fmla="*/ 8859722 w 12192000"/>
              <a:gd name="connsiteY4" fmla="*/ 1955455 h 2020666"/>
              <a:gd name="connsiteX5" fmla="*/ 0 w 12192000"/>
              <a:gd name="connsiteY5" fmla="*/ 1958338 h 2020666"/>
              <a:gd name="connsiteX6" fmla="*/ 0 w 12192000"/>
              <a:gd name="connsiteY6" fmla="*/ 0 h 2020666"/>
              <a:gd name="connsiteX0" fmla="*/ 0 w 12192000"/>
              <a:gd name="connsiteY0" fmla="*/ 0 h 1958338"/>
              <a:gd name="connsiteX1" fmla="*/ 12192000 w 12192000"/>
              <a:gd name="connsiteY1" fmla="*/ 0 h 1958338"/>
              <a:gd name="connsiteX2" fmla="*/ 12169775 w 12192000"/>
              <a:gd name="connsiteY2" fmla="*/ 1183638 h 1958338"/>
              <a:gd name="connsiteX3" fmla="*/ 9267441 w 12192000"/>
              <a:gd name="connsiteY3" fmla="*/ 1430111 h 1958338"/>
              <a:gd name="connsiteX4" fmla="*/ 8859722 w 12192000"/>
              <a:gd name="connsiteY4" fmla="*/ 1955455 h 1958338"/>
              <a:gd name="connsiteX5" fmla="*/ 0 w 12192000"/>
              <a:gd name="connsiteY5" fmla="*/ 1958338 h 1958338"/>
              <a:gd name="connsiteX6" fmla="*/ 0 w 12192000"/>
              <a:gd name="connsiteY6" fmla="*/ 0 h 1958338"/>
              <a:gd name="connsiteX0" fmla="*/ 0 w 12192000"/>
              <a:gd name="connsiteY0" fmla="*/ 0 h 1958338"/>
              <a:gd name="connsiteX1" fmla="*/ 12192000 w 12192000"/>
              <a:gd name="connsiteY1" fmla="*/ 0 h 1958338"/>
              <a:gd name="connsiteX2" fmla="*/ 12188825 w 12192000"/>
              <a:gd name="connsiteY2" fmla="*/ 1443988 h 1958338"/>
              <a:gd name="connsiteX3" fmla="*/ 9267441 w 12192000"/>
              <a:gd name="connsiteY3" fmla="*/ 1430111 h 1958338"/>
              <a:gd name="connsiteX4" fmla="*/ 8859722 w 12192000"/>
              <a:gd name="connsiteY4" fmla="*/ 1955455 h 1958338"/>
              <a:gd name="connsiteX5" fmla="*/ 0 w 12192000"/>
              <a:gd name="connsiteY5" fmla="*/ 1958338 h 1958338"/>
              <a:gd name="connsiteX6" fmla="*/ 0 w 12192000"/>
              <a:gd name="connsiteY6" fmla="*/ 0 h 1958338"/>
              <a:gd name="connsiteX0" fmla="*/ 0 w 12192000"/>
              <a:gd name="connsiteY0" fmla="*/ 0 h 1958338"/>
              <a:gd name="connsiteX1" fmla="*/ 12192000 w 12192000"/>
              <a:gd name="connsiteY1" fmla="*/ 0 h 1958338"/>
              <a:gd name="connsiteX2" fmla="*/ 12188825 w 12192000"/>
              <a:gd name="connsiteY2" fmla="*/ 1443988 h 1958338"/>
              <a:gd name="connsiteX3" fmla="*/ 9267441 w 12192000"/>
              <a:gd name="connsiteY3" fmla="*/ 1430111 h 1958338"/>
              <a:gd name="connsiteX4" fmla="*/ 8859722 w 12192000"/>
              <a:gd name="connsiteY4" fmla="*/ 1955455 h 1958338"/>
              <a:gd name="connsiteX5" fmla="*/ 0 w 12192000"/>
              <a:gd name="connsiteY5" fmla="*/ 1958338 h 1958338"/>
              <a:gd name="connsiteX6" fmla="*/ 0 w 12192000"/>
              <a:gd name="connsiteY6" fmla="*/ 0 h 1958338"/>
              <a:gd name="connsiteX0" fmla="*/ 0 w 12192000"/>
              <a:gd name="connsiteY0" fmla="*/ 0 h 1958338"/>
              <a:gd name="connsiteX1" fmla="*/ 12192000 w 12192000"/>
              <a:gd name="connsiteY1" fmla="*/ 0 h 1958338"/>
              <a:gd name="connsiteX2" fmla="*/ 12188825 w 12192000"/>
              <a:gd name="connsiteY2" fmla="*/ 1443988 h 1958338"/>
              <a:gd name="connsiteX3" fmla="*/ 9267441 w 12192000"/>
              <a:gd name="connsiteY3" fmla="*/ 1430111 h 1958338"/>
              <a:gd name="connsiteX4" fmla="*/ 8859722 w 12192000"/>
              <a:gd name="connsiteY4" fmla="*/ 1955455 h 1958338"/>
              <a:gd name="connsiteX5" fmla="*/ 0 w 12192000"/>
              <a:gd name="connsiteY5" fmla="*/ 1958338 h 1958338"/>
              <a:gd name="connsiteX6" fmla="*/ 0 w 12192000"/>
              <a:gd name="connsiteY6" fmla="*/ 0 h 1958338"/>
              <a:gd name="connsiteX0" fmla="*/ 0 w 12192000"/>
              <a:gd name="connsiteY0" fmla="*/ 0 h 1958338"/>
              <a:gd name="connsiteX1" fmla="*/ 12192000 w 12192000"/>
              <a:gd name="connsiteY1" fmla="*/ 0 h 1958338"/>
              <a:gd name="connsiteX2" fmla="*/ 12150725 w 12192000"/>
              <a:gd name="connsiteY2" fmla="*/ 1247138 h 1958338"/>
              <a:gd name="connsiteX3" fmla="*/ 9267441 w 12192000"/>
              <a:gd name="connsiteY3" fmla="*/ 1430111 h 1958338"/>
              <a:gd name="connsiteX4" fmla="*/ 8859722 w 12192000"/>
              <a:gd name="connsiteY4" fmla="*/ 1955455 h 1958338"/>
              <a:gd name="connsiteX5" fmla="*/ 0 w 12192000"/>
              <a:gd name="connsiteY5" fmla="*/ 1958338 h 1958338"/>
              <a:gd name="connsiteX6" fmla="*/ 0 w 12192000"/>
              <a:gd name="connsiteY6" fmla="*/ 0 h 1958338"/>
              <a:gd name="connsiteX0" fmla="*/ 0 w 12192000"/>
              <a:gd name="connsiteY0" fmla="*/ 0 h 1958338"/>
              <a:gd name="connsiteX1" fmla="*/ 12192000 w 12192000"/>
              <a:gd name="connsiteY1" fmla="*/ 0 h 1958338"/>
              <a:gd name="connsiteX2" fmla="*/ 12188825 w 12192000"/>
              <a:gd name="connsiteY2" fmla="*/ 1431288 h 1958338"/>
              <a:gd name="connsiteX3" fmla="*/ 9267441 w 12192000"/>
              <a:gd name="connsiteY3" fmla="*/ 1430111 h 1958338"/>
              <a:gd name="connsiteX4" fmla="*/ 8859722 w 12192000"/>
              <a:gd name="connsiteY4" fmla="*/ 1955455 h 1958338"/>
              <a:gd name="connsiteX5" fmla="*/ 0 w 12192000"/>
              <a:gd name="connsiteY5" fmla="*/ 1958338 h 1958338"/>
              <a:gd name="connsiteX6" fmla="*/ 0 w 12192000"/>
              <a:gd name="connsiteY6" fmla="*/ 0 h 1958338"/>
              <a:gd name="connsiteX0" fmla="*/ 0 w 12192000"/>
              <a:gd name="connsiteY0" fmla="*/ 0 h 1958338"/>
              <a:gd name="connsiteX1" fmla="*/ 12192000 w 12192000"/>
              <a:gd name="connsiteY1" fmla="*/ 0 h 1958338"/>
              <a:gd name="connsiteX2" fmla="*/ 12188825 w 12192000"/>
              <a:gd name="connsiteY2" fmla="*/ 1431288 h 1958338"/>
              <a:gd name="connsiteX3" fmla="*/ 9267441 w 12192000"/>
              <a:gd name="connsiteY3" fmla="*/ 1430111 h 1958338"/>
              <a:gd name="connsiteX4" fmla="*/ 8859722 w 12192000"/>
              <a:gd name="connsiteY4" fmla="*/ 1955455 h 1958338"/>
              <a:gd name="connsiteX5" fmla="*/ 7957752 w 12192000"/>
              <a:gd name="connsiteY5" fmla="*/ 1958338 h 1958338"/>
              <a:gd name="connsiteX6" fmla="*/ 0 w 12192000"/>
              <a:gd name="connsiteY6" fmla="*/ 0 h 1958338"/>
              <a:gd name="connsiteX0" fmla="*/ 0 w 12192000"/>
              <a:gd name="connsiteY0" fmla="*/ 0 h 1955455"/>
              <a:gd name="connsiteX1" fmla="*/ 12192000 w 12192000"/>
              <a:gd name="connsiteY1" fmla="*/ 0 h 1955455"/>
              <a:gd name="connsiteX2" fmla="*/ 12188825 w 12192000"/>
              <a:gd name="connsiteY2" fmla="*/ 1431288 h 1955455"/>
              <a:gd name="connsiteX3" fmla="*/ 9267441 w 12192000"/>
              <a:gd name="connsiteY3" fmla="*/ 1430111 h 1955455"/>
              <a:gd name="connsiteX4" fmla="*/ 8859722 w 12192000"/>
              <a:gd name="connsiteY4" fmla="*/ 1955455 h 1955455"/>
              <a:gd name="connsiteX5" fmla="*/ 7903777 w 12192000"/>
              <a:gd name="connsiteY5" fmla="*/ 1796413 h 1955455"/>
              <a:gd name="connsiteX6" fmla="*/ 0 w 12192000"/>
              <a:gd name="connsiteY6" fmla="*/ 0 h 1955455"/>
              <a:gd name="connsiteX0" fmla="*/ 0 w 12192000"/>
              <a:gd name="connsiteY0" fmla="*/ 0 h 1961513"/>
              <a:gd name="connsiteX1" fmla="*/ 12192000 w 12192000"/>
              <a:gd name="connsiteY1" fmla="*/ 0 h 1961513"/>
              <a:gd name="connsiteX2" fmla="*/ 12188825 w 12192000"/>
              <a:gd name="connsiteY2" fmla="*/ 1431288 h 1961513"/>
              <a:gd name="connsiteX3" fmla="*/ 9267441 w 12192000"/>
              <a:gd name="connsiteY3" fmla="*/ 1430111 h 1961513"/>
              <a:gd name="connsiteX4" fmla="*/ 8859722 w 12192000"/>
              <a:gd name="connsiteY4" fmla="*/ 1955455 h 1961513"/>
              <a:gd name="connsiteX5" fmla="*/ 7773605 w 12192000"/>
              <a:gd name="connsiteY5" fmla="*/ 1961513 h 1961513"/>
              <a:gd name="connsiteX6" fmla="*/ 0 w 12192000"/>
              <a:gd name="connsiteY6" fmla="*/ 0 h 1961513"/>
              <a:gd name="connsiteX0" fmla="*/ 0 w 12192000"/>
              <a:gd name="connsiteY0" fmla="*/ 0 h 1961513"/>
              <a:gd name="connsiteX1" fmla="*/ 12192000 w 12192000"/>
              <a:gd name="connsiteY1" fmla="*/ 0 h 1961513"/>
              <a:gd name="connsiteX2" fmla="*/ 12188825 w 12192000"/>
              <a:gd name="connsiteY2" fmla="*/ 1431288 h 1961513"/>
              <a:gd name="connsiteX3" fmla="*/ 9267441 w 12192000"/>
              <a:gd name="connsiteY3" fmla="*/ 1430111 h 1961513"/>
              <a:gd name="connsiteX4" fmla="*/ 8856550 w 12192000"/>
              <a:gd name="connsiteY4" fmla="*/ 1958630 h 1961513"/>
              <a:gd name="connsiteX5" fmla="*/ 7773605 w 12192000"/>
              <a:gd name="connsiteY5" fmla="*/ 1961513 h 1961513"/>
              <a:gd name="connsiteX6" fmla="*/ 0 w 12192000"/>
              <a:gd name="connsiteY6" fmla="*/ 0 h 1961513"/>
              <a:gd name="connsiteX0" fmla="*/ 0 w 6318738"/>
              <a:gd name="connsiteY0" fmla="*/ 8793 h 1961513"/>
              <a:gd name="connsiteX1" fmla="*/ 6318738 w 6318738"/>
              <a:gd name="connsiteY1" fmla="*/ 0 h 1961513"/>
              <a:gd name="connsiteX2" fmla="*/ 6315563 w 6318738"/>
              <a:gd name="connsiteY2" fmla="*/ 1431288 h 1961513"/>
              <a:gd name="connsiteX3" fmla="*/ 3394179 w 6318738"/>
              <a:gd name="connsiteY3" fmla="*/ 1430111 h 1961513"/>
              <a:gd name="connsiteX4" fmla="*/ 2983288 w 6318738"/>
              <a:gd name="connsiteY4" fmla="*/ 1958630 h 1961513"/>
              <a:gd name="connsiteX5" fmla="*/ 1900343 w 6318738"/>
              <a:gd name="connsiteY5" fmla="*/ 1961513 h 1961513"/>
              <a:gd name="connsiteX6" fmla="*/ 0 w 6318738"/>
              <a:gd name="connsiteY6" fmla="*/ 8793 h 1961513"/>
              <a:gd name="connsiteX0" fmla="*/ 0 w 4420825"/>
              <a:gd name="connsiteY0" fmla="*/ 0 h 6301441"/>
              <a:gd name="connsiteX1" fmla="*/ 4420825 w 4420825"/>
              <a:gd name="connsiteY1" fmla="*/ 4339928 h 6301441"/>
              <a:gd name="connsiteX2" fmla="*/ 4417650 w 4420825"/>
              <a:gd name="connsiteY2" fmla="*/ 5771216 h 6301441"/>
              <a:gd name="connsiteX3" fmla="*/ 1496266 w 4420825"/>
              <a:gd name="connsiteY3" fmla="*/ 5770039 h 6301441"/>
              <a:gd name="connsiteX4" fmla="*/ 1085375 w 4420825"/>
              <a:gd name="connsiteY4" fmla="*/ 6298558 h 6301441"/>
              <a:gd name="connsiteX5" fmla="*/ 2430 w 4420825"/>
              <a:gd name="connsiteY5" fmla="*/ 6301441 h 6301441"/>
              <a:gd name="connsiteX6" fmla="*/ 0 w 4420825"/>
              <a:gd name="connsiteY6" fmla="*/ 0 h 6301441"/>
              <a:gd name="connsiteX0" fmla="*/ 0 w 6869058"/>
              <a:gd name="connsiteY0" fmla="*/ 0 h 6301441"/>
              <a:gd name="connsiteX1" fmla="*/ 6869058 w 6869058"/>
              <a:gd name="connsiteY1" fmla="*/ 92393 h 6301441"/>
              <a:gd name="connsiteX2" fmla="*/ 4417650 w 6869058"/>
              <a:gd name="connsiteY2" fmla="*/ 5771216 h 6301441"/>
              <a:gd name="connsiteX3" fmla="*/ 1496266 w 6869058"/>
              <a:gd name="connsiteY3" fmla="*/ 5770039 h 6301441"/>
              <a:gd name="connsiteX4" fmla="*/ 1085375 w 6869058"/>
              <a:gd name="connsiteY4" fmla="*/ 6298558 h 6301441"/>
              <a:gd name="connsiteX5" fmla="*/ 2430 w 6869058"/>
              <a:gd name="connsiteY5" fmla="*/ 6301441 h 6301441"/>
              <a:gd name="connsiteX6" fmla="*/ 0 w 6869058"/>
              <a:gd name="connsiteY6" fmla="*/ 0 h 6301441"/>
              <a:gd name="connsiteX0" fmla="*/ 0 w 6864372"/>
              <a:gd name="connsiteY0" fmla="*/ 0 h 6301441"/>
              <a:gd name="connsiteX1" fmla="*/ 6864372 w 6864372"/>
              <a:gd name="connsiteY1" fmla="*/ 7987 h 6301441"/>
              <a:gd name="connsiteX2" fmla="*/ 4417650 w 6864372"/>
              <a:gd name="connsiteY2" fmla="*/ 5771216 h 6301441"/>
              <a:gd name="connsiteX3" fmla="*/ 1496266 w 6864372"/>
              <a:gd name="connsiteY3" fmla="*/ 5770039 h 6301441"/>
              <a:gd name="connsiteX4" fmla="*/ 1085375 w 6864372"/>
              <a:gd name="connsiteY4" fmla="*/ 6298558 h 6301441"/>
              <a:gd name="connsiteX5" fmla="*/ 2430 w 6864372"/>
              <a:gd name="connsiteY5" fmla="*/ 6301441 h 6301441"/>
              <a:gd name="connsiteX6" fmla="*/ 0 w 6864372"/>
              <a:gd name="connsiteY6" fmla="*/ 0 h 6301441"/>
              <a:gd name="connsiteX0" fmla="*/ 0 w 6864372"/>
              <a:gd name="connsiteY0" fmla="*/ 0 h 6301441"/>
              <a:gd name="connsiteX1" fmla="*/ 6864372 w 6864372"/>
              <a:gd name="connsiteY1" fmla="*/ 7987 h 6301441"/>
              <a:gd name="connsiteX2" fmla="*/ 6860742 w 6864372"/>
              <a:gd name="connsiteY2" fmla="*/ 5771219 h 6301441"/>
              <a:gd name="connsiteX3" fmla="*/ 1496266 w 6864372"/>
              <a:gd name="connsiteY3" fmla="*/ 5770039 h 6301441"/>
              <a:gd name="connsiteX4" fmla="*/ 1085375 w 6864372"/>
              <a:gd name="connsiteY4" fmla="*/ 6298558 h 6301441"/>
              <a:gd name="connsiteX5" fmla="*/ 2430 w 6864372"/>
              <a:gd name="connsiteY5" fmla="*/ 6301441 h 6301441"/>
              <a:gd name="connsiteX6" fmla="*/ 0 w 6864372"/>
              <a:gd name="connsiteY6" fmla="*/ 0 h 6301441"/>
              <a:gd name="connsiteX0" fmla="*/ 0 w 6860894"/>
              <a:gd name="connsiteY0" fmla="*/ 817513 h 7118954"/>
              <a:gd name="connsiteX1" fmla="*/ 6858025 w 6860894"/>
              <a:gd name="connsiteY1" fmla="*/ 0 h 7118954"/>
              <a:gd name="connsiteX2" fmla="*/ 6860742 w 6860894"/>
              <a:gd name="connsiteY2" fmla="*/ 6588732 h 7118954"/>
              <a:gd name="connsiteX3" fmla="*/ 1496266 w 6860894"/>
              <a:gd name="connsiteY3" fmla="*/ 6587552 h 7118954"/>
              <a:gd name="connsiteX4" fmla="*/ 1085375 w 6860894"/>
              <a:gd name="connsiteY4" fmla="*/ 7116071 h 7118954"/>
              <a:gd name="connsiteX5" fmla="*/ 2430 w 6860894"/>
              <a:gd name="connsiteY5" fmla="*/ 7118954 h 7118954"/>
              <a:gd name="connsiteX6" fmla="*/ 0 w 6860894"/>
              <a:gd name="connsiteY6" fmla="*/ 817513 h 7118954"/>
              <a:gd name="connsiteX0" fmla="*/ 0 w 6864069"/>
              <a:gd name="connsiteY0" fmla="*/ 1538 h 7118954"/>
              <a:gd name="connsiteX1" fmla="*/ 6861200 w 6864069"/>
              <a:gd name="connsiteY1" fmla="*/ 0 h 7118954"/>
              <a:gd name="connsiteX2" fmla="*/ 6863917 w 6864069"/>
              <a:gd name="connsiteY2" fmla="*/ 6588732 h 7118954"/>
              <a:gd name="connsiteX3" fmla="*/ 1499441 w 6864069"/>
              <a:gd name="connsiteY3" fmla="*/ 6587552 h 7118954"/>
              <a:gd name="connsiteX4" fmla="*/ 1088550 w 6864069"/>
              <a:gd name="connsiteY4" fmla="*/ 7116071 h 7118954"/>
              <a:gd name="connsiteX5" fmla="*/ 5605 w 6864069"/>
              <a:gd name="connsiteY5" fmla="*/ 7118954 h 7118954"/>
              <a:gd name="connsiteX6" fmla="*/ 0 w 6864069"/>
              <a:gd name="connsiteY6" fmla="*/ 1538 h 7118954"/>
              <a:gd name="connsiteX0" fmla="*/ 49309 w 6858513"/>
              <a:gd name="connsiteY0" fmla="*/ 522750 h 7118954"/>
              <a:gd name="connsiteX1" fmla="*/ 6855644 w 6858513"/>
              <a:gd name="connsiteY1" fmla="*/ 0 h 7118954"/>
              <a:gd name="connsiteX2" fmla="*/ 6858361 w 6858513"/>
              <a:gd name="connsiteY2" fmla="*/ 6588732 h 7118954"/>
              <a:gd name="connsiteX3" fmla="*/ 1493885 w 6858513"/>
              <a:gd name="connsiteY3" fmla="*/ 6587552 h 7118954"/>
              <a:gd name="connsiteX4" fmla="*/ 1082994 w 6858513"/>
              <a:gd name="connsiteY4" fmla="*/ 7116071 h 7118954"/>
              <a:gd name="connsiteX5" fmla="*/ 49 w 6858513"/>
              <a:gd name="connsiteY5" fmla="*/ 7118954 h 7118954"/>
              <a:gd name="connsiteX6" fmla="*/ 49309 w 6858513"/>
              <a:gd name="connsiteY6" fmla="*/ 522750 h 7118954"/>
              <a:gd name="connsiteX0" fmla="*/ 0 w 6860004"/>
              <a:gd name="connsiteY0" fmla="*/ 160803 h 7118954"/>
              <a:gd name="connsiteX1" fmla="*/ 6857135 w 6860004"/>
              <a:gd name="connsiteY1" fmla="*/ 0 h 7118954"/>
              <a:gd name="connsiteX2" fmla="*/ 6859852 w 6860004"/>
              <a:gd name="connsiteY2" fmla="*/ 6588732 h 7118954"/>
              <a:gd name="connsiteX3" fmla="*/ 1495376 w 6860004"/>
              <a:gd name="connsiteY3" fmla="*/ 6587552 h 7118954"/>
              <a:gd name="connsiteX4" fmla="*/ 1084485 w 6860004"/>
              <a:gd name="connsiteY4" fmla="*/ 7116071 h 7118954"/>
              <a:gd name="connsiteX5" fmla="*/ 1540 w 6860004"/>
              <a:gd name="connsiteY5" fmla="*/ 7118954 h 7118954"/>
              <a:gd name="connsiteX6" fmla="*/ 0 w 6860004"/>
              <a:gd name="connsiteY6" fmla="*/ 160803 h 7118954"/>
              <a:gd name="connsiteX0" fmla="*/ 0 w 6859858"/>
              <a:gd name="connsiteY0" fmla="*/ 0 h 6958151"/>
              <a:gd name="connsiteX1" fmla="*/ 6723785 w 6859858"/>
              <a:gd name="connsiteY1" fmla="*/ 480547 h 6958151"/>
              <a:gd name="connsiteX2" fmla="*/ 6859852 w 6859858"/>
              <a:gd name="connsiteY2" fmla="*/ 6427929 h 6958151"/>
              <a:gd name="connsiteX3" fmla="*/ 1495376 w 6859858"/>
              <a:gd name="connsiteY3" fmla="*/ 6426749 h 6958151"/>
              <a:gd name="connsiteX4" fmla="*/ 1084485 w 6859858"/>
              <a:gd name="connsiteY4" fmla="*/ 6955268 h 6958151"/>
              <a:gd name="connsiteX5" fmla="*/ 1540 w 6859858"/>
              <a:gd name="connsiteY5" fmla="*/ 6958151 h 6958151"/>
              <a:gd name="connsiteX6" fmla="*/ 0 w 6859858"/>
              <a:gd name="connsiteY6" fmla="*/ 0 h 6958151"/>
              <a:gd name="connsiteX0" fmla="*/ 0 w 6859948"/>
              <a:gd name="connsiteY0" fmla="*/ 2053 h 6960204"/>
              <a:gd name="connsiteX1" fmla="*/ 6853963 w 6859948"/>
              <a:gd name="connsiteY1" fmla="*/ 0 h 6960204"/>
              <a:gd name="connsiteX2" fmla="*/ 6859852 w 6859948"/>
              <a:gd name="connsiteY2" fmla="*/ 6429982 h 6960204"/>
              <a:gd name="connsiteX3" fmla="*/ 1495376 w 6859948"/>
              <a:gd name="connsiteY3" fmla="*/ 6428802 h 6960204"/>
              <a:gd name="connsiteX4" fmla="*/ 1084485 w 6859948"/>
              <a:gd name="connsiteY4" fmla="*/ 6957321 h 6960204"/>
              <a:gd name="connsiteX5" fmla="*/ 1540 w 6859948"/>
              <a:gd name="connsiteY5" fmla="*/ 6960204 h 6960204"/>
              <a:gd name="connsiteX6" fmla="*/ 0 w 6859948"/>
              <a:gd name="connsiteY6" fmla="*/ 2053 h 6960204"/>
              <a:gd name="connsiteX0" fmla="*/ 0 w 6859948"/>
              <a:gd name="connsiteY0" fmla="*/ 0 h 10451365"/>
              <a:gd name="connsiteX1" fmla="*/ 6853963 w 6859948"/>
              <a:gd name="connsiteY1" fmla="*/ 3491161 h 10451365"/>
              <a:gd name="connsiteX2" fmla="*/ 6859852 w 6859948"/>
              <a:gd name="connsiteY2" fmla="*/ 9921143 h 10451365"/>
              <a:gd name="connsiteX3" fmla="*/ 1495376 w 6859948"/>
              <a:gd name="connsiteY3" fmla="*/ 9919963 h 10451365"/>
              <a:gd name="connsiteX4" fmla="*/ 1084485 w 6859948"/>
              <a:gd name="connsiteY4" fmla="*/ 10448482 h 10451365"/>
              <a:gd name="connsiteX5" fmla="*/ 1540 w 6859948"/>
              <a:gd name="connsiteY5" fmla="*/ 10451365 h 10451365"/>
              <a:gd name="connsiteX6" fmla="*/ 0 w 6859948"/>
              <a:gd name="connsiteY6" fmla="*/ 0 h 10451365"/>
              <a:gd name="connsiteX0" fmla="*/ 0 w 6860011"/>
              <a:gd name="connsiteY0" fmla="*/ 2052 h 10453417"/>
              <a:gd name="connsiteX1" fmla="*/ 6857390 w 6860011"/>
              <a:gd name="connsiteY1" fmla="*/ 0 h 10453417"/>
              <a:gd name="connsiteX2" fmla="*/ 6859852 w 6860011"/>
              <a:gd name="connsiteY2" fmla="*/ 9923195 h 10453417"/>
              <a:gd name="connsiteX3" fmla="*/ 1495376 w 6860011"/>
              <a:gd name="connsiteY3" fmla="*/ 9922015 h 10453417"/>
              <a:gd name="connsiteX4" fmla="*/ 1084485 w 6860011"/>
              <a:gd name="connsiteY4" fmla="*/ 10450534 h 10453417"/>
              <a:gd name="connsiteX5" fmla="*/ 1540 w 6860011"/>
              <a:gd name="connsiteY5" fmla="*/ 10453417 h 10453417"/>
              <a:gd name="connsiteX6" fmla="*/ 0 w 6860011"/>
              <a:gd name="connsiteY6" fmla="*/ 2052 h 10453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60011" h="10453417">
                <a:moveTo>
                  <a:pt x="0" y="2052"/>
                </a:moveTo>
                <a:lnTo>
                  <a:pt x="6857390" y="0"/>
                </a:lnTo>
                <a:cubicBezTo>
                  <a:pt x="6856332" y="481329"/>
                  <a:pt x="6860910" y="9441866"/>
                  <a:pt x="6859852" y="9923195"/>
                </a:cubicBezTo>
                <a:lnTo>
                  <a:pt x="1495376" y="9922015"/>
                </a:lnTo>
                <a:cubicBezTo>
                  <a:pt x="1498691" y="9921464"/>
                  <a:pt x="1483418" y="9928097"/>
                  <a:pt x="1084485" y="10450534"/>
                </a:cubicBezTo>
                <a:lnTo>
                  <a:pt x="1540" y="10453417"/>
                </a:lnTo>
                <a:cubicBezTo>
                  <a:pt x="-328" y="8080945"/>
                  <a:pt x="1868" y="2374524"/>
                  <a:pt x="0" y="2052"/>
                </a:cubicBezTo>
                <a:close/>
              </a:path>
            </a:pathLst>
          </a:custGeom>
          <a:solidFill>
            <a:srgbClr val="4B66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Объект 7">
            <a:extLst>
              <a:ext uri="{FF2B5EF4-FFF2-40B4-BE49-F238E27FC236}">
                <a16:creationId xmlns="" xmlns:a16="http://schemas.microsoft.com/office/drawing/2014/main" id="{24BE3E6F-0C2B-23BF-6BBC-7E5D99BB1C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6344" y="1467989"/>
            <a:ext cx="4763590" cy="5601820"/>
          </a:xfrm>
        </p:spPr>
        <p:txBody>
          <a:bodyPr>
            <a:noAutofit/>
          </a:bodyPr>
          <a:lstStyle/>
          <a:p>
            <a:pPr marL="177750" indent="-177750">
              <a:buClr>
                <a:srgbClr val="4B66CA"/>
              </a:buClr>
            </a:pPr>
            <a:r>
              <a:rPr lang="ru-RU" sz="1600" b="1" dirty="0" smtClean="0"/>
              <a:t>Образование</a:t>
            </a:r>
          </a:p>
          <a:p>
            <a:pPr marL="177750" indent="-177750">
              <a:buClr>
                <a:srgbClr val="4B66CA"/>
              </a:buClr>
              <a:buFont typeface="Wingdings" pitchFamily="2" charset="2"/>
              <a:buChar char="§"/>
            </a:pPr>
            <a:r>
              <a:rPr lang="ru-RU" sz="1600" dirty="0" smtClean="0"/>
              <a:t>Московский государственный университет дизайна и технологии,</a:t>
            </a:r>
            <a:br>
              <a:rPr lang="ru-RU" sz="1600" dirty="0" smtClean="0"/>
            </a:br>
            <a:r>
              <a:rPr lang="ru-RU" sz="1600" dirty="0" smtClean="0"/>
              <a:t>2002 г.</a:t>
            </a:r>
            <a:endParaRPr lang="ru-RU" sz="1600" dirty="0"/>
          </a:p>
          <a:p>
            <a:pPr marL="177750" indent="-177750">
              <a:buClr>
                <a:srgbClr val="4B66CA"/>
              </a:buClr>
              <a:buFont typeface="Wingdings" pitchFamily="2" charset="2"/>
              <a:buChar char="§"/>
            </a:pPr>
            <a:r>
              <a:rPr lang="ru-RU" sz="1600" dirty="0" smtClean="0"/>
              <a:t>Академия труда и социальных отношений, 2010 г.</a:t>
            </a:r>
          </a:p>
          <a:p>
            <a:pPr marL="177750" indent="-177750">
              <a:buClr>
                <a:srgbClr val="4B66CA"/>
              </a:buClr>
              <a:buFont typeface="Wingdings" pitchFamily="2" charset="2"/>
              <a:buChar char="§"/>
            </a:pPr>
            <a:r>
              <a:rPr lang="ru-RU" sz="1600" dirty="0" smtClean="0"/>
              <a:t>Российский университет транспорта, 2022 г.</a:t>
            </a:r>
          </a:p>
          <a:p>
            <a:pPr marL="177750" indent="-177750">
              <a:buClr>
                <a:srgbClr val="4B66CA"/>
              </a:buClr>
            </a:pPr>
            <a:endParaRPr lang="ru-RU" sz="1600" b="1" dirty="0" smtClean="0"/>
          </a:p>
          <a:p>
            <a:pPr marL="177750" indent="-177750">
              <a:buClr>
                <a:srgbClr val="4B66CA"/>
              </a:buClr>
            </a:pPr>
            <a:r>
              <a:rPr lang="ru-RU" sz="1600" b="1" dirty="0" smtClean="0"/>
              <a:t>Зона </a:t>
            </a:r>
            <a:r>
              <a:rPr lang="ru-RU" sz="1600" b="1" dirty="0"/>
              <a:t>ответственности</a:t>
            </a:r>
          </a:p>
          <a:p>
            <a:pPr marL="177750" indent="-177750">
              <a:buClr>
                <a:srgbClr val="4B66CA"/>
              </a:buClr>
              <a:buFont typeface="Wingdings" pitchFamily="2" charset="2"/>
              <a:buChar char="§"/>
            </a:pPr>
            <a:r>
              <a:rPr lang="ru-RU" sz="1600" dirty="0" smtClean="0"/>
              <a:t>разработка и экспертиза системообразующих документов компании по охране труда</a:t>
            </a:r>
          </a:p>
          <a:p>
            <a:pPr marL="177750" indent="-177750">
              <a:buClr>
                <a:srgbClr val="4B66CA"/>
              </a:buClr>
              <a:buFont typeface="Wingdings" pitchFamily="2" charset="2"/>
              <a:buChar char="§"/>
            </a:pPr>
            <a:r>
              <a:rPr lang="ru-RU" sz="1600" dirty="0" smtClean="0"/>
              <a:t>экспертиза проектов НПА, содержащих требования охраны труда </a:t>
            </a:r>
          </a:p>
          <a:p>
            <a:pPr marL="177750" indent="-177750">
              <a:buClr>
                <a:srgbClr val="4B66CA"/>
              </a:buClr>
              <a:buFont typeface="Wingdings" pitchFamily="2" charset="2"/>
              <a:buChar char="§"/>
            </a:pPr>
            <a:r>
              <a:rPr lang="ru-RU" sz="1600" dirty="0" smtClean="0"/>
              <a:t>выстраивание и совершенствование системы обучения по охране труда работников компании</a:t>
            </a:r>
          </a:p>
        </p:txBody>
      </p:sp>
      <p:sp>
        <p:nvSpPr>
          <p:cNvPr id="9" name="Текст 8">
            <a:extLst>
              <a:ext uri="{FF2B5EF4-FFF2-40B4-BE49-F238E27FC236}">
                <a16:creationId xmlns="" xmlns:a16="http://schemas.microsoft.com/office/drawing/2014/main" id="{7C2B6FA0-6BE7-7270-ABBA-18ED97BD0A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92288" y="5132847"/>
            <a:ext cx="3259904" cy="811616"/>
          </a:xfrm>
          <a:ln>
            <a:noFill/>
          </a:ln>
        </p:spPr>
        <p:txBody>
          <a:bodyPr>
            <a:noAutofit/>
          </a:bodyPr>
          <a:lstStyle/>
          <a:p>
            <a:r>
              <a:rPr lang="ru-RU" sz="2000" b="1" dirty="0" smtClean="0">
                <a:ln cap="sq">
                  <a:solidFill>
                    <a:schemeClr val="bg1"/>
                  </a:solidFill>
                  <a:miter lim="800000"/>
                </a:ln>
                <a:solidFill>
                  <a:schemeClr val="bg1"/>
                </a:solidFill>
              </a:rPr>
              <a:t>Прохоров Виктор Сергеевич</a:t>
            </a:r>
            <a:endParaRPr lang="ru-RU" sz="2000" b="1" dirty="0">
              <a:ln cap="sq">
                <a:solidFill>
                  <a:schemeClr val="bg1"/>
                </a:solidFill>
                <a:miter lim="800000"/>
              </a:ln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33002DC8-4B36-6EE7-3CFB-D606BA62FC8F}"/>
              </a:ext>
            </a:extLst>
          </p:cNvPr>
          <p:cNvSpPr txBox="1"/>
          <p:nvPr/>
        </p:nvSpPr>
        <p:spPr>
          <a:xfrm>
            <a:off x="1092288" y="5801347"/>
            <a:ext cx="3082670" cy="8679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4B66CA"/>
              </a:buClr>
              <a:buSzTx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лавный специалист Департамента экологии и техносферной безопасности ОАО «РЖД»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="" xmlns:a16="http://schemas.microsoft.com/office/drawing/2014/main" id="{2C230E11-B796-94CF-49A8-00FB7CBD495A}"/>
              </a:ext>
            </a:extLst>
          </p:cNvPr>
          <p:cNvCxnSpPr>
            <a:cxnSpLocks/>
          </p:cNvCxnSpPr>
          <p:nvPr/>
        </p:nvCxnSpPr>
        <p:spPr>
          <a:xfrm>
            <a:off x="6403311" y="3900586"/>
            <a:ext cx="2243351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940" name="AutoShape 4" descr="Imag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" name="Рисунок 9" descr="F:\ВНОТ-2023 Сочи\Прохоров ВС РЖД 2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92996" y="624120"/>
            <a:ext cx="3797747" cy="4349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919257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9A575C3B-E824-5B88-A18C-9C004C9263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700" dirty="0"/>
              <a:t>/ </a:t>
            </a:r>
            <a:r>
              <a:rPr lang="ru-RU" sz="3700" dirty="0" smtClean="0"/>
              <a:t>ОАО «РЖД» СЕГОДНЯ</a:t>
            </a:r>
            <a:endParaRPr lang="ru-RU" sz="3700" dirty="0"/>
          </a:p>
        </p:txBody>
      </p:sp>
      <p:sp>
        <p:nvSpPr>
          <p:cNvPr id="5" name="Заголовок 3">
            <a:extLst>
              <a:ext uri="{FF2B5EF4-FFF2-40B4-BE49-F238E27FC236}">
                <a16:creationId xmlns="" xmlns:a16="http://schemas.microsoft.com/office/drawing/2014/main" id="{F2007F42-F62C-65F4-1157-BD8AA61B5B14}"/>
              </a:ext>
            </a:extLst>
          </p:cNvPr>
          <p:cNvSpPr txBox="1">
            <a:spLocks/>
          </p:cNvSpPr>
          <p:nvPr/>
        </p:nvSpPr>
        <p:spPr>
          <a:xfrm>
            <a:off x="9173943" y="2102700"/>
            <a:ext cx="2862749" cy="59690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1600" dirty="0">
                <a:ln w="15875" cap="sq">
                  <a:noFill/>
                  <a:miter lim="800000"/>
                </a:ln>
                <a:solidFill>
                  <a:srgbClr val="3C3C3B"/>
                </a:solidFill>
              </a:rPr>
              <a:t>протяжённость </a:t>
            </a:r>
            <a:br>
              <a:rPr lang="ru-RU" sz="1600" dirty="0">
                <a:ln w="15875" cap="sq">
                  <a:noFill/>
                  <a:miter lim="800000"/>
                </a:ln>
                <a:solidFill>
                  <a:srgbClr val="3C3C3B"/>
                </a:solidFill>
              </a:rPr>
            </a:br>
            <a:r>
              <a:rPr lang="ru-RU" sz="1600" dirty="0">
                <a:ln w="15875" cap="sq">
                  <a:noFill/>
                  <a:miter lim="800000"/>
                </a:ln>
                <a:solidFill>
                  <a:srgbClr val="3C3C3B"/>
                </a:solidFill>
              </a:rPr>
              <a:t>путей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D3B179AD-0840-441A-594B-1A6A531C7DFB}"/>
              </a:ext>
            </a:extLst>
          </p:cNvPr>
          <p:cNvSpPr txBox="1"/>
          <p:nvPr/>
        </p:nvSpPr>
        <p:spPr>
          <a:xfrm>
            <a:off x="9195833" y="3398841"/>
            <a:ext cx="16435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spc="150" dirty="0">
                <a:ln w="15875" cap="sq">
                  <a:noFill/>
                  <a:miter lim="800000"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железных дорог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24BA4D36-52D4-F859-F016-1D6548CA8597}"/>
              </a:ext>
            </a:extLst>
          </p:cNvPr>
          <p:cNvSpPr txBox="1"/>
          <p:nvPr/>
        </p:nvSpPr>
        <p:spPr>
          <a:xfrm>
            <a:off x="10685893" y="3387556"/>
            <a:ext cx="15090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spc="150" dirty="0">
                <a:ln w="15875" cap="sq">
                  <a:noFill/>
                  <a:miter lim="800000"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убъектов</a:t>
            </a:r>
          </a:p>
          <a:p>
            <a:r>
              <a:rPr lang="ru-RU" sz="1600" spc="150" dirty="0">
                <a:ln w="15875" cap="sq">
                  <a:noFill/>
                  <a:miter lim="800000"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Ф</a:t>
            </a:r>
            <a:endParaRPr lang="ru-RU" sz="1600" dirty="0"/>
          </a:p>
        </p:txBody>
      </p:sp>
      <p:grpSp>
        <p:nvGrpSpPr>
          <p:cNvPr id="23" name="Группа 22">
            <a:extLst>
              <a:ext uri="{FF2B5EF4-FFF2-40B4-BE49-F238E27FC236}">
                <a16:creationId xmlns="" xmlns:a16="http://schemas.microsoft.com/office/drawing/2014/main" id="{EC93D2A4-3710-5F14-A1A1-152E1577455D}"/>
              </a:ext>
            </a:extLst>
          </p:cNvPr>
          <p:cNvGrpSpPr/>
          <p:nvPr/>
        </p:nvGrpSpPr>
        <p:grpSpPr>
          <a:xfrm>
            <a:off x="9249621" y="4480109"/>
            <a:ext cx="2503213" cy="1936566"/>
            <a:chOff x="704576" y="4524928"/>
            <a:chExt cx="2503213" cy="1936566"/>
          </a:xfrm>
          <a:solidFill>
            <a:srgbClr val="4B66CA"/>
          </a:solidFill>
        </p:grpSpPr>
        <p:sp>
          <p:nvSpPr>
            <p:cNvPr id="24" name="Прямоугольник 2">
              <a:extLst>
                <a:ext uri="{FF2B5EF4-FFF2-40B4-BE49-F238E27FC236}">
                  <a16:creationId xmlns="" xmlns:a16="http://schemas.microsoft.com/office/drawing/2014/main" id="{AD4730B0-B829-9721-744D-1D62D9DAF4E3}"/>
                </a:ext>
              </a:extLst>
            </p:cNvPr>
            <p:cNvSpPr/>
            <p:nvPr/>
          </p:nvSpPr>
          <p:spPr>
            <a:xfrm>
              <a:off x="704576" y="4902384"/>
              <a:ext cx="1196363" cy="1129083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7585" h="3659521">
                  <a:moveTo>
                    <a:pt x="2728586" y="6299"/>
                  </a:moveTo>
                  <a:lnTo>
                    <a:pt x="3877585" y="0"/>
                  </a:lnTo>
                  <a:lnTo>
                    <a:pt x="1123178" y="3654851"/>
                  </a:lnTo>
                  <a:lnTo>
                    <a:pt x="0" y="3659521"/>
                  </a:lnTo>
                  <a:lnTo>
                    <a:pt x="2728586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">
              <a:extLst>
                <a:ext uri="{FF2B5EF4-FFF2-40B4-BE49-F238E27FC236}">
                  <a16:creationId xmlns="" xmlns:a16="http://schemas.microsoft.com/office/drawing/2014/main" id="{A7C77795-5060-7E3F-D611-E565D48D84C5}"/>
                </a:ext>
              </a:extLst>
            </p:cNvPr>
            <p:cNvSpPr/>
            <p:nvPr/>
          </p:nvSpPr>
          <p:spPr>
            <a:xfrm>
              <a:off x="836438" y="4524928"/>
              <a:ext cx="761193" cy="757240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8626" h="3659521">
                  <a:moveTo>
                    <a:pt x="2747535" y="6299"/>
                  </a:moveTo>
                  <a:lnTo>
                    <a:pt x="3678626" y="0"/>
                  </a:lnTo>
                  <a:lnTo>
                    <a:pt x="952642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solidFill>
              <a:srgbClr val="4B66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Прямоугольник 2">
              <a:extLst>
                <a:ext uri="{FF2B5EF4-FFF2-40B4-BE49-F238E27FC236}">
                  <a16:creationId xmlns="" xmlns:a16="http://schemas.microsoft.com/office/drawing/2014/main" id="{DBE1DD48-02F8-F1D4-7D60-D70199D4CCE8}"/>
                </a:ext>
              </a:extLst>
            </p:cNvPr>
            <p:cNvSpPr/>
            <p:nvPr/>
          </p:nvSpPr>
          <p:spPr>
            <a:xfrm>
              <a:off x="1129149" y="5900630"/>
              <a:ext cx="704655" cy="56086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  <a:gd name="connsiteX0" fmla="*/ 2747535 w 2747536"/>
                <a:gd name="connsiteY0" fmla="*/ 0 h 3653222"/>
                <a:gd name="connsiteX1" fmla="*/ 1571399 w 2747536"/>
                <a:gd name="connsiteY1" fmla="*/ 2477526 h 3653222"/>
                <a:gd name="connsiteX2" fmla="*/ 782106 w 2747536"/>
                <a:gd name="connsiteY2" fmla="*/ 3648552 h 3653222"/>
                <a:gd name="connsiteX3" fmla="*/ 0 w 2747536"/>
                <a:gd name="connsiteY3" fmla="*/ 3653222 h 3653222"/>
                <a:gd name="connsiteX4" fmla="*/ 2747535 w 2747536"/>
                <a:gd name="connsiteY4" fmla="*/ 0 h 3653222"/>
                <a:gd name="connsiteX0" fmla="*/ 1245081 w 1571399"/>
                <a:gd name="connsiteY0" fmla="*/ 0 h 1178081"/>
                <a:gd name="connsiteX1" fmla="*/ 1571399 w 1571399"/>
                <a:gd name="connsiteY1" fmla="*/ 2385 h 1178081"/>
                <a:gd name="connsiteX2" fmla="*/ 782106 w 1571399"/>
                <a:gd name="connsiteY2" fmla="*/ 1173411 h 1178081"/>
                <a:gd name="connsiteX3" fmla="*/ 0 w 1571399"/>
                <a:gd name="connsiteY3" fmla="*/ 1178081 h 1178081"/>
                <a:gd name="connsiteX4" fmla="*/ 1245081 w 1571399"/>
                <a:gd name="connsiteY4" fmla="*/ 0 h 1178081"/>
                <a:gd name="connsiteX0" fmla="*/ 1149549 w 1571399"/>
                <a:gd name="connsiteY0" fmla="*/ 0 h 1516785"/>
                <a:gd name="connsiteX1" fmla="*/ 1571399 w 1571399"/>
                <a:gd name="connsiteY1" fmla="*/ 341089 h 1516785"/>
                <a:gd name="connsiteX2" fmla="*/ 782106 w 1571399"/>
                <a:gd name="connsiteY2" fmla="*/ 1512115 h 1516785"/>
                <a:gd name="connsiteX3" fmla="*/ 0 w 1571399"/>
                <a:gd name="connsiteY3" fmla="*/ 1516785 h 1516785"/>
                <a:gd name="connsiteX4" fmla="*/ 1149549 w 1571399"/>
                <a:gd name="connsiteY4" fmla="*/ 0 h 1516785"/>
                <a:gd name="connsiteX0" fmla="*/ 1149549 w 1901418"/>
                <a:gd name="connsiteY0" fmla="*/ 6299 h 1523084"/>
                <a:gd name="connsiteX1" fmla="*/ 1901418 w 1901418"/>
                <a:gd name="connsiteY1" fmla="*/ 0 h 1523084"/>
                <a:gd name="connsiteX2" fmla="*/ 782106 w 1901418"/>
                <a:gd name="connsiteY2" fmla="*/ 1518414 h 1523084"/>
                <a:gd name="connsiteX3" fmla="*/ 0 w 1901418"/>
                <a:gd name="connsiteY3" fmla="*/ 1523084 h 1523084"/>
                <a:gd name="connsiteX4" fmla="*/ 1149549 w 1901418"/>
                <a:gd name="connsiteY4" fmla="*/ 6299 h 1523084"/>
                <a:gd name="connsiteX0" fmla="*/ 1158234 w 1901418"/>
                <a:gd name="connsiteY0" fmla="*/ 0 h 1690479"/>
                <a:gd name="connsiteX1" fmla="*/ 1901418 w 1901418"/>
                <a:gd name="connsiteY1" fmla="*/ 167395 h 1690479"/>
                <a:gd name="connsiteX2" fmla="*/ 782106 w 1901418"/>
                <a:gd name="connsiteY2" fmla="*/ 1685809 h 1690479"/>
                <a:gd name="connsiteX3" fmla="*/ 0 w 1901418"/>
                <a:gd name="connsiteY3" fmla="*/ 1690479 h 1690479"/>
                <a:gd name="connsiteX4" fmla="*/ 1158234 w 1901418"/>
                <a:gd name="connsiteY4" fmla="*/ 0 h 1690479"/>
                <a:gd name="connsiteX0" fmla="*/ 1210342 w 1901418"/>
                <a:gd name="connsiteY0" fmla="*/ 214732 h 1523084"/>
                <a:gd name="connsiteX1" fmla="*/ 1901418 w 1901418"/>
                <a:gd name="connsiteY1" fmla="*/ 0 h 1523084"/>
                <a:gd name="connsiteX2" fmla="*/ 782106 w 1901418"/>
                <a:gd name="connsiteY2" fmla="*/ 1518414 h 1523084"/>
                <a:gd name="connsiteX3" fmla="*/ 0 w 1901418"/>
                <a:gd name="connsiteY3" fmla="*/ 1523084 h 1523084"/>
                <a:gd name="connsiteX4" fmla="*/ 1210342 w 1901418"/>
                <a:gd name="connsiteY4" fmla="*/ 214732 h 1523084"/>
                <a:gd name="connsiteX0" fmla="*/ 1149549 w 1901418"/>
                <a:gd name="connsiteY0" fmla="*/ 0 h 1542839"/>
                <a:gd name="connsiteX1" fmla="*/ 1901418 w 1901418"/>
                <a:gd name="connsiteY1" fmla="*/ 19755 h 1542839"/>
                <a:gd name="connsiteX2" fmla="*/ 782106 w 1901418"/>
                <a:gd name="connsiteY2" fmla="*/ 1538169 h 1542839"/>
                <a:gd name="connsiteX3" fmla="*/ 0 w 1901418"/>
                <a:gd name="connsiteY3" fmla="*/ 1542839 h 1542839"/>
                <a:gd name="connsiteX4" fmla="*/ 1149549 w 1901418"/>
                <a:gd name="connsiteY4" fmla="*/ 0 h 1542839"/>
                <a:gd name="connsiteX0" fmla="*/ 1149549 w 1901418"/>
                <a:gd name="connsiteY0" fmla="*/ 0 h 1542839"/>
                <a:gd name="connsiteX1" fmla="*/ 1901418 w 1901418"/>
                <a:gd name="connsiteY1" fmla="*/ 19755 h 1542839"/>
                <a:gd name="connsiteX2" fmla="*/ 782106 w 1901418"/>
                <a:gd name="connsiteY2" fmla="*/ 1538169 h 1542839"/>
                <a:gd name="connsiteX3" fmla="*/ 0 w 1901418"/>
                <a:gd name="connsiteY3" fmla="*/ 1542839 h 1542839"/>
                <a:gd name="connsiteX4" fmla="*/ 1149549 w 1901418"/>
                <a:gd name="connsiteY4" fmla="*/ 0 h 1542839"/>
                <a:gd name="connsiteX0" fmla="*/ 1149549 w 1910103"/>
                <a:gd name="connsiteY0" fmla="*/ 0 h 1542839"/>
                <a:gd name="connsiteX1" fmla="*/ 1910103 w 1910103"/>
                <a:gd name="connsiteY1" fmla="*/ 2385 h 1542839"/>
                <a:gd name="connsiteX2" fmla="*/ 782106 w 1910103"/>
                <a:gd name="connsiteY2" fmla="*/ 1538169 h 1542839"/>
                <a:gd name="connsiteX3" fmla="*/ 0 w 1910103"/>
                <a:gd name="connsiteY3" fmla="*/ 1542839 h 1542839"/>
                <a:gd name="connsiteX4" fmla="*/ 1149549 w 1910103"/>
                <a:gd name="connsiteY4" fmla="*/ 0 h 1542839"/>
                <a:gd name="connsiteX0" fmla="*/ 1149549 w 1927472"/>
                <a:gd name="connsiteY0" fmla="*/ 0 h 1542839"/>
                <a:gd name="connsiteX1" fmla="*/ 1927472 w 1927472"/>
                <a:gd name="connsiteY1" fmla="*/ 11070 h 1542839"/>
                <a:gd name="connsiteX2" fmla="*/ 782106 w 1927472"/>
                <a:gd name="connsiteY2" fmla="*/ 1538169 h 1542839"/>
                <a:gd name="connsiteX3" fmla="*/ 0 w 1927472"/>
                <a:gd name="connsiteY3" fmla="*/ 1542839 h 1542839"/>
                <a:gd name="connsiteX4" fmla="*/ 1149549 w 1927472"/>
                <a:gd name="connsiteY4" fmla="*/ 0 h 1542839"/>
                <a:gd name="connsiteX0" fmla="*/ 1219027 w 1927472"/>
                <a:gd name="connsiteY0" fmla="*/ 197363 h 1531769"/>
                <a:gd name="connsiteX1" fmla="*/ 1927472 w 1927472"/>
                <a:gd name="connsiteY1" fmla="*/ 0 h 1531769"/>
                <a:gd name="connsiteX2" fmla="*/ 782106 w 1927472"/>
                <a:gd name="connsiteY2" fmla="*/ 1527099 h 1531769"/>
                <a:gd name="connsiteX3" fmla="*/ 0 w 1927472"/>
                <a:gd name="connsiteY3" fmla="*/ 1531769 h 1531769"/>
                <a:gd name="connsiteX4" fmla="*/ 1219027 w 1927472"/>
                <a:gd name="connsiteY4" fmla="*/ 197363 h 1531769"/>
                <a:gd name="connsiteX0" fmla="*/ 1149549 w 1927472"/>
                <a:gd name="connsiteY0" fmla="*/ 0 h 1534154"/>
                <a:gd name="connsiteX1" fmla="*/ 1927472 w 1927472"/>
                <a:gd name="connsiteY1" fmla="*/ 2385 h 1534154"/>
                <a:gd name="connsiteX2" fmla="*/ 782106 w 1927472"/>
                <a:gd name="connsiteY2" fmla="*/ 1529484 h 1534154"/>
                <a:gd name="connsiteX3" fmla="*/ 0 w 1927472"/>
                <a:gd name="connsiteY3" fmla="*/ 1534154 h 1534154"/>
                <a:gd name="connsiteX4" fmla="*/ 1149549 w 1927472"/>
                <a:gd name="connsiteY4" fmla="*/ 0 h 1534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7472" h="1534154">
                  <a:moveTo>
                    <a:pt x="1149549" y="0"/>
                  </a:moveTo>
                  <a:lnTo>
                    <a:pt x="1927472" y="2385"/>
                  </a:lnTo>
                  <a:lnTo>
                    <a:pt x="782106" y="1529484"/>
                  </a:lnTo>
                  <a:lnTo>
                    <a:pt x="0" y="1534154"/>
                  </a:lnTo>
                  <a:lnTo>
                    <a:pt x="1149549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">
              <a:extLst>
                <a:ext uri="{FF2B5EF4-FFF2-40B4-BE49-F238E27FC236}">
                  <a16:creationId xmlns="" xmlns:a16="http://schemas.microsoft.com/office/drawing/2014/main" id="{7794CC81-1CCB-7D49-A827-0CED2D8EEE84}"/>
                </a:ext>
              </a:extLst>
            </p:cNvPr>
            <p:cNvSpPr/>
            <p:nvPr/>
          </p:nvSpPr>
          <p:spPr>
            <a:xfrm>
              <a:off x="2589450" y="5282168"/>
              <a:ext cx="618339" cy="7524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  <a:gd name="connsiteX0" fmla="*/ 2103285 w 2863840"/>
                <a:gd name="connsiteY0" fmla="*/ 6299 h 3654851"/>
                <a:gd name="connsiteX1" fmla="*/ 2863840 w 2863840"/>
                <a:gd name="connsiteY1" fmla="*/ 0 h 3654851"/>
                <a:gd name="connsiteX2" fmla="*/ 137856 w 2863840"/>
                <a:gd name="connsiteY2" fmla="*/ 3654851 h 3654851"/>
                <a:gd name="connsiteX3" fmla="*/ 0 w 2863840"/>
                <a:gd name="connsiteY3" fmla="*/ 3536356 h 3654851"/>
                <a:gd name="connsiteX4" fmla="*/ 2103285 w 2863840"/>
                <a:gd name="connsiteY4" fmla="*/ 6299 h 3654851"/>
                <a:gd name="connsiteX0" fmla="*/ 2216976 w 2977531"/>
                <a:gd name="connsiteY0" fmla="*/ 6299 h 3654851"/>
                <a:gd name="connsiteX1" fmla="*/ 2977531 w 2977531"/>
                <a:gd name="connsiteY1" fmla="*/ 0 h 3654851"/>
                <a:gd name="connsiteX2" fmla="*/ 251547 w 2977531"/>
                <a:gd name="connsiteY2" fmla="*/ 3654851 h 3654851"/>
                <a:gd name="connsiteX3" fmla="*/ 0 w 2977531"/>
                <a:gd name="connsiteY3" fmla="*/ 3631098 h 3654851"/>
                <a:gd name="connsiteX4" fmla="*/ 2216976 w 2977531"/>
                <a:gd name="connsiteY4" fmla="*/ 6299 h 3654851"/>
                <a:gd name="connsiteX0" fmla="*/ 2008542 w 2769097"/>
                <a:gd name="connsiteY0" fmla="*/ 6299 h 3654851"/>
                <a:gd name="connsiteX1" fmla="*/ 2769097 w 2769097"/>
                <a:gd name="connsiteY1" fmla="*/ 0 h 3654851"/>
                <a:gd name="connsiteX2" fmla="*/ 43113 w 2769097"/>
                <a:gd name="connsiteY2" fmla="*/ 3654851 h 3654851"/>
                <a:gd name="connsiteX3" fmla="*/ 0 w 2769097"/>
                <a:gd name="connsiteY3" fmla="*/ 3242654 h 3654851"/>
                <a:gd name="connsiteX4" fmla="*/ 2008542 w 2769097"/>
                <a:gd name="connsiteY4" fmla="*/ 6299 h 3654851"/>
                <a:gd name="connsiteX0" fmla="*/ 2245398 w 3005953"/>
                <a:gd name="connsiteY0" fmla="*/ 6299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245398 w 3005953"/>
                <a:gd name="connsiteY4" fmla="*/ 6299 h 3654851"/>
                <a:gd name="connsiteX0" fmla="*/ 2633843 w 3005953"/>
                <a:gd name="connsiteY0" fmla="*/ 15774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633843 w 3005953"/>
                <a:gd name="connsiteY4" fmla="*/ 15774 h 3654851"/>
                <a:gd name="connsiteX0" fmla="*/ 2794905 w 3005953"/>
                <a:gd name="connsiteY0" fmla="*/ 25248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794905 w 3005953"/>
                <a:gd name="connsiteY4" fmla="*/ 25248 h 3654851"/>
                <a:gd name="connsiteX0" fmla="*/ 2757008 w 3005953"/>
                <a:gd name="connsiteY0" fmla="*/ 0 h 3658026"/>
                <a:gd name="connsiteX1" fmla="*/ 3005953 w 3005953"/>
                <a:gd name="connsiteY1" fmla="*/ 3175 h 3658026"/>
                <a:gd name="connsiteX2" fmla="*/ 279969 w 3005953"/>
                <a:gd name="connsiteY2" fmla="*/ 3658026 h 3658026"/>
                <a:gd name="connsiteX3" fmla="*/ 0 w 3005953"/>
                <a:gd name="connsiteY3" fmla="*/ 3653222 h 3658026"/>
                <a:gd name="connsiteX4" fmla="*/ 2757008 w 3005953"/>
                <a:gd name="connsiteY4" fmla="*/ 0 h 3658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5953" h="3658026">
                  <a:moveTo>
                    <a:pt x="2757008" y="0"/>
                  </a:moveTo>
                  <a:lnTo>
                    <a:pt x="3005953" y="3175"/>
                  </a:lnTo>
                  <a:lnTo>
                    <a:pt x="279969" y="3658026"/>
                  </a:lnTo>
                  <a:lnTo>
                    <a:pt x="0" y="3653222"/>
                  </a:lnTo>
                  <a:lnTo>
                    <a:pt x="2757008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" name="AutoShape 3">
            <a:extLst>
              <a:ext uri="{FF2B5EF4-FFF2-40B4-BE49-F238E27FC236}">
                <a16:creationId xmlns="" xmlns:a16="http://schemas.microsoft.com/office/drawing/2014/main" id="{7A8E0E6F-673C-4C73-B02A-4B15FDA56E4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77863" y="1571625"/>
            <a:ext cx="7772400" cy="4468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grpSp>
        <p:nvGrpSpPr>
          <p:cNvPr id="112" name="Группа 111">
            <a:extLst>
              <a:ext uri="{FF2B5EF4-FFF2-40B4-BE49-F238E27FC236}">
                <a16:creationId xmlns="" xmlns:a16="http://schemas.microsoft.com/office/drawing/2014/main" id="{DD60CF87-8950-44CE-875B-53513A10474C}"/>
              </a:ext>
            </a:extLst>
          </p:cNvPr>
          <p:cNvGrpSpPr/>
          <p:nvPr/>
        </p:nvGrpSpPr>
        <p:grpSpPr>
          <a:xfrm>
            <a:off x="677863" y="1565275"/>
            <a:ext cx="7781926" cy="4475163"/>
            <a:chOff x="677863" y="1565275"/>
            <a:chExt cx="7781926" cy="4475163"/>
          </a:xfrm>
        </p:grpSpPr>
        <p:sp>
          <p:nvSpPr>
            <p:cNvPr id="7" name="Freeform 5">
              <a:extLst>
                <a:ext uri="{FF2B5EF4-FFF2-40B4-BE49-F238E27FC236}">
                  <a16:creationId xmlns="" xmlns:a16="http://schemas.microsoft.com/office/drawing/2014/main" id="{858455D3-8C29-4956-ADB7-D2CFFCE7E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1301" y="4379913"/>
              <a:ext cx="598488" cy="806450"/>
            </a:xfrm>
            <a:custGeom>
              <a:avLst/>
              <a:gdLst>
                <a:gd name="T0" fmla="*/ 1061 w 1061"/>
                <a:gd name="T1" fmla="*/ 892 h 1429"/>
                <a:gd name="T2" fmla="*/ 1061 w 1061"/>
                <a:gd name="T3" fmla="*/ 892 h 1429"/>
                <a:gd name="T4" fmla="*/ 1061 w 1061"/>
                <a:gd name="T5" fmla="*/ 1059 h 1429"/>
                <a:gd name="T6" fmla="*/ 1052 w 1061"/>
                <a:gd name="T7" fmla="*/ 1080 h 1429"/>
                <a:gd name="T8" fmla="*/ 982 w 1061"/>
                <a:gd name="T9" fmla="*/ 1150 h 1429"/>
                <a:gd name="T10" fmla="*/ 931 w 1061"/>
                <a:gd name="T11" fmla="*/ 1129 h 1429"/>
                <a:gd name="T12" fmla="*/ 931 w 1061"/>
                <a:gd name="T13" fmla="*/ 1112 h 1429"/>
                <a:gd name="T14" fmla="*/ 901 w 1061"/>
                <a:gd name="T15" fmla="*/ 1082 h 1429"/>
                <a:gd name="T16" fmla="*/ 831 w 1061"/>
                <a:gd name="T17" fmla="*/ 1082 h 1429"/>
                <a:gd name="T18" fmla="*/ 801 w 1061"/>
                <a:gd name="T19" fmla="*/ 1112 h 1429"/>
                <a:gd name="T20" fmla="*/ 801 w 1061"/>
                <a:gd name="T21" fmla="*/ 1319 h 1429"/>
                <a:gd name="T22" fmla="*/ 792 w 1061"/>
                <a:gd name="T23" fmla="*/ 1340 h 1429"/>
                <a:gd name="T24" fmla="*/ 722 w 1061"/>
                <a:gd name="T25" fmla="*/ 1410 h 1429"/>
                <a:gd name="T26" fmla="*/ 671 w 1061"/>
                <a:gd name="T27" fmla="*/ 1389 h 1429"/>
                <a:gd name="T28" fmla="*/ 671 w 1061"/>
                <a:gd name="T29" fmla="*/ 892 h 1429"/>
                <a:gd name="T30" fmla="*/ 580 w 1061"/>
                <a:gd name="T31" fmla="*/ 672 h 1429"/>
                <a:gd name="T32" fmla="*/ 345 w 1061"/>
                <a:gd name="T33" fmla="*/ 437 h 1429"/>
                <a:gd name="T34" fmla="*/ 287 w 1061"/>
                <a:gd name="T35" fmla="*/ 379 h 1429"/>
                <a:gd name="T36" fmla="*/ 54 w 1061"/>
                <a:gd name="T37" fmla="*/ 146 h 1429"/>
                <a:gd name="T38" fmla="*/ 115 w 1061"/>
                <a:gd name="T39" fmla="*/ 0 h 1429"/>
                <a:gd name="T40" fmla="*/ 386 w 1061"/>
                <a:gd name="T41" fmla="*/ 0 h 1429"/>
                <a:gd name="T42" fmla="*/ 510 w 1061"/>
                <a:gd name="T43" fmla="*/ 51 h 1429"/>
                <a:gd name="T44" fmla="*/ 563 w 1061"/>
                <a:gd name="T45" fmla="*/ 104 h 1429"/>
                <a:gd name="T46" fmla="*/ 620 w 1061"/>
                <a:gd name="T47" fmla="*/ 161 h 1429"/>
                <a:gd name="T48" fmla="*/ 801 w 1061"/>
                <a:gd name="T49" fmla="*/ 342 h 1429"/>
                <a:gd name="T50" fmla="*/ 758 w 1061"/>
                <a:gd name="T51" fmla="*/ 447 h 1429"/>
                <a:gd name="T52" fmla="*/ 723 w 1061"/>
                <a:gd name="T53" fmla="*/ 531 h 1429"/>
                <a:gd name="T54" fmla="*/ 1052 w 1061"/>
                <a:gd name="T55" fmla="*/ 859 h 1429"/>
                <a:gd name="T56" fmla="*/ 1061 w 1061"/>
                <a:gd name="T57" fmla="*/ 879 h 1429"/>
                <a:gd name="T58" fmla="*/ 1061 w 1061"/>
                <a:gd name="T59" fmla="*/ 892 h 1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061" h="1429">
                  <a:moveTo>
                    <a:pt x="1061" y="892"/>
                  </a:moveTo>
                  <a:lnTo>
                    <a:pt x="1061" y="892"/>
                  </a:lnTo>
                  <a:lnTo>
                    <a:pt x="1061" y="1059"/>
                  </a:lnTo>
                  <a:cubicBezTo>
                    <a:pt x="1061" y="1067"/>
                    <a:pt x="1058" y="1074"/>
                    <a:pt x="1052" y="1080"/>
                  </a:cubicBezTo>
                  <a:lnTo>
                    <a:pt x="982" y="1150"/>
                  </a:lnTo>
                  <a:cubicBezTo>
                    <a:pt x="963" y="1169"/>
                    <a:pt x="931" y="1156"/>
                    <a:pt x="931" y="1129"/>
                  </a:cubicBezTo>
                  <a:lnTo>
                    <a:pt x="931" y="1112"/>
                  </a:lnTo>
                  <a:cubicBezTo>
                    <a:pt x="931" y="1095"/>
                    <a:pt x="918" y="1082"/>
                    <a:pt x="901" y="1082"/>
                  </a:cubicBezTo>
                  <a:lnTo>
                    <a:pt x="831" y="1082"/>
                  </a:lnTo>
                  <a:cubicBezTo>
                    <a:pt x="814" y="1082"/>
                    <a:pt x="801" y="1095"/>
                    <a:pt x="801" y="1112"/>
                  </a:cubicBezTo>
                  <a:lnTo>
                    <a:pt x="801" y="1319"/>
                  </a:lnTo>
                  <a:cubicBezTo>
                    <a:pt x="801" y="1327"/>
                    <a:pt x="798" y="1334"/>
                    <a:pt x="792" y="1340"/>
                  </a:cubicBezTo>
                  <a:lnTo>
                    <a:pt x="722" y="1410"/>
                  </a:lnTo>
                  <a:cubicBezTo>
                    <a:pt x="703" y="1429"/>
                    <a:pt x="671" y="1415"/>
                    <a:pt x="671" y="1389"/>
                  </a:cubicBezTo>
                  <a:lnTo>
                    <a:pt x="671" y="892"/>
                  </a:lnTo>
                  <a:cubicBezTo>
                    <a:pt x="671" y="814"/>
                    <a:pt x="635" y="727"/>
                    <a:pt x="580" y="672"/>
                  </a:cubicBezTo>
                  <a:lnTo>
                    <a:pt x="345" y="437"/>
                  </a:lnTo>
                  <a:lnTo>
                    <a:pt x="287" y="379"/>
                  </a:lnTo>
                  <a:lnTo>
                    <a:pt x="54" y="146"/>
                  </a:lnTo>
                  <a:cubicBezTo>
                    <a:pt x="0" y="92"/>
                    <a:pt x="39" y="0"/>
                    <a:pt x="115" y="0"/>
                  </a:cubicBezTo>
                  <a:lnTo>
                    <a:pt x="386" y="0"/>
                  </a:lnTo>
                  <a:cubicBezTo>
                    <a:pt x="432" y="0"/>
                    <a:pt x="477" y="18"/>
                    <a:pt x="510" y="51"/>
                  </a:cubicBezTo>
                  <a:lnTo>
                    <a:pt x="563" y="104"/>
                  </a:lnTo>
                  <a:lnTo>
                    <a:pt x="620" y="161"/>
                  </a:lnTo>
                  <a:lnTo>
                    <a:pt x="801" y="342"/>
                  </a:lnTo>
                  <a:cubicBezTo>
                    <a:pt x="840" y="381"/>
                    <a:pt x="813" y="447"/>
                    <a:pt x="758" y="447"/>
                  </a:cubicBezTo>
                  <a:cubicBezTo>
                    <a:pt x="714" y="447"/>
                    <a:pt x="693" y="500"/>
                    <a:pt x="723" y="531"/>
                  </a:cubicBezTo>
                  <a:lnTo>
                    <a:pt x="1052" y="859"/>
                  </a:lnTo>
                  <a:cubicBezTo>
                    <a:pt x="1057" y="864"/>
                    <a:pt x="1060" y="872"/>
                    <a:pt x="1061" y="879"/>
                  </a:cubicBezTo>
                  <a:cubicBezTo>
                    <a:pt x="1061" y="883"/>
                    <a:pt x="1061" y="888"/>
                    <a:pt x="1061" y="892"/>
                  </a:cubicBezTo>
                  <a:close/>
                </a:path>
              </a:pathLst>
            </a:custGeom>
            <a:solidFill>
              <a:srgbClr val="D2D2D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" name="Freeform 6">
              <a:extLst>
                <a:ext uri="{FF2B5EF4-FFF2-40B4-BE49-F238E27FC236}">
                  <a16:creationId xmlns="" xmlns:a16="http://schemas.microsoft.com/office/drawing/2014/main" id="{F9AA93CE-7AA8-4568-A994-BEB6BDF5C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026" y="3206750"/>
              <a:ext cx="300038" cy="203200"/>
            </a:xfrm>
            <a:custGeom>
              <a:avLst/>
              <a:gdLst>
                <a:gd name="T0" fmla="*/ 0 w 532"/>
                <a:gd name="T1" fmla="*/ 20 h 361"/>
                <a:gd name="T2" fmla="*/ 0 w 532"/>
                <a:gd name="T3" fmla="*/ 20 h 361"/>
                <a:gd name="T4" fmla="*/ 42 w 532"/>
                <a:gd name="T5" fmla="*/ 0 h 361"/>
                <a:gd name="T6" fmla="*/ 342 w 532"/>
                <a:gd name="T7" fmla="*/ 0 h 361"/>
                <a:gd name="T8" fmla="*/ 413 w 532"/>
                <a:gd name="T9" fmla="*/ 29 h 361"/>
                <a:gd name="T10" fmla="*/ 516 w 532"/>
                <a:gd name="T11" fmla="*/ 133 h 361"/>
                <a:gd name="T12" fmla="*/ 516 w 532"/>
                <a:gd name="T13" fmla="*/ 191 h 361"/>
                <a:gd name="T14" fmla="*/ 363 w 532"/>
                <a:gd name="T15" fmla="*/ 345 h 361"/>
                <a:gd name="T16" fmla="*/ 304 w 532"/>
                <a:gd name="T17" fmla="*/ 345 h 361"/>
                <a:gd name="T18" fmla="*/ 30 w 532"/>
                <a:gd name="T19" fmla="*/ 70 h 361"/>
                <a:gd name="T20" fmla="*/ 0 w 532"/>
                <a:gd name="T21" fmla="*/ 20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2" h="361">
                  <a:moveTo>
                    <a:pt x="0" y="20"/>
                  </a:moveTo>
                  <a:lnTo>
                    <a:pt x="0" y="20"/>
                  </a:lnTo>
                  <a:cubicBezTo>
                    <a:pt x="0" y="9"/>
                    <a:pt x="19" y="0"/>
                    <a:pt x="42" y="0"/>
                  </a:cubicBezTo>
                  <a:lnTo>
                    <a:pt x="342" y="0"/>
                  </a:lnTo>
                  <a:cubicBezTo>
                    <a:pt x="365" y="0"/>
                    <a:pt x="397" y="13"/>
                    <a:pt x="413" y="29"/>
                  </a:cubicBezTo>
                  <a:lnTo>
                    <a:pt x="516" y="133"/>
                  </a:lnTo>
                  <a:cubicBezTo>
                    <a:pt x="532" y="149"/>
                    <a:pt x="532" y="175"/>
                    <a:pt x="516" y="191"/>
                  </a:cubicBezTo>
                  <a:lnTo>
                    <a:pt x="363" y="345"/>
                  </a:lnTo>
                  <a:cubicBezTo>
                    <a:pt x="346" y="361"/>
                    <a:pt x="320" y="361"/>
                    <a:pt x="304" y="345"/>
                  </a:cubicBezTo>
                  <a:lnTo>
                    <a:pt x="30" y="70"/>
                  </a:lnTo>
                  <a:cubicBezTo>
                    <a:pt x="14" y="54"/>
                    <a:pt x="0" y="32"/>
                    <a:pt x="0" y="20"/>
                  </a:cubicBezTo>
                  <a:close/>
                </a:path>
              </a:pathLst>
            </a:custGeom>
            <a:solidFill>
              <a:srgbClr val="D2D2D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Freeform 7">
              <a:extLst>
                <a:ext uri="{FF2B5EF4-FFF2-40B4-BE49-F238E27FC236}">
                  <a16:creationId xmlns="" xmlns:a16="http://schemas.microsoft.com/office/drawing/2014/main" id="{59E5CF73-3777-4359-B5E5-FAF34B3D1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3926" y="2693988"/>
              <a:ext cx="709613" cy="608013"/>
            </a:xfrm>
            <a:custGeom>
              <a:avLst/>
              <a:gdLst>
                <a:gd name="T0" fmla="*/ 0 w 1260"/>
                <a:gd name="T1" fmla="*/ 1036 h 1077"/>
                <a:gd name="T2" fmla="*/ 0 w 1260"/>
                <a:gd name="T3" fmla="*/ 1036 h 1077"/>
                <a:gd name="T4" fmla="*/ 41 w 1260"/>
                <a:gd name="T5" fmla="*/ 1077 h 1077"/>
                <a:gd name="T6" fmla="*/ 240 w 1260"/>
                <a:gd name="T7" fmla="*/ 1077 h 1077"/>
                <a:gd name="T8" fmla="*/ 281 w 1260"/>
                <a:gd name="T9" fmla="*/ 1036 h 1077"/>
                <a:gd name="T10" fmla="*/ 281 w 1260"/>
                <a:gd name="T11" fmla="*/ 638 h 1077"/>
                <a:gd name="T12" fmla="*/ 311 w 1260"/>
                <a:gd name="T13" fmla="*/ 568 h 1077"/>
                <a:gd name="T14" fmla="*/ 555 w 1260"/>
                <a:gd name="T15" fmla="*/ 328 h 1077"/>
                <a:gd name="T16" fmla="*/ 626 w 1260"/>
                <a:gd name="T17" fmla="*/ 300 h 1077"/>
                <a:gd name="T18" fmla="*/ 933 w 1260"/>
                <a:gd name="T19" fmla="*/ 300 h 1077"/>
                <a:gd name="T20" fmla="*/ 1003 w 1260"/>
                <a:gd name="T21" fmla="*/ 270 h 1077"/>
                <a:gd name="T22" fmla="*/ 1244 w 1260"/>
                <a:gd name="T23" fmla="*/ 29 h 1077"/>
                <a:gd name="T24" fmla="*/ 1232 w 1260"/>
                <a:gd name="T25" fmla="*/ 0 h 1077"/>
                <a:gd name="T26" fmla="*/ 1007 w 1260"/>
                <a:gd name="T27" fmla="*/ 0 h 1077"/>
                <a:gd name="T28" fmla="*/ 924 w 1260"/>
                <a:gd name="T29" fmla="*/ 0 h 1077"/>
                <a:gd name="T30" fmla="*/ 594 w 1260"/>
                <a:gd name="T31" fmla="*/ 0 h 1077"/>
                <a:gd name="T32" fmla="*/ 523 w 1260"/>
                <a:gd name="T33" fmla="*/ 30 h 1077"/>
                <a:gd name="T34" fmla="*/ 29 w 1260"/>
                <a:gd name="T35" fmla="*/ 526 h 1077"/>
                <a:gd name="T36" fmla="*/ 0 w 1260"/>
                <a:gd name="T37" fmla="*/ 597 h 1077"/>
                <a:gd name="T38" fmla="*/ 0 w 1260"/>
                <a:gd name="T39" fmla="*/ 1036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60" h="1077">
                  <a:moveTo>
                    <a:pt x="0" y="1036"/>
                  </a:moveTo>
                  <a:lnTo>
                    <a:pt x="0" y="1036"/>
                  </a:lnTo>
                  <a:cubicBezTo>
                    <a:pt x="0" y="1059"/>
                    <a:pt x="19" y="1077"/>
                    <a:pt x="41" y="1077"/>
                  </a:cubicBezTo>
                  <a:lnTo>
                    <a:pt x="240" y="1077"/>
                  </a:lnTo>
                  <a:cubicBezTo>
                    <a:pt x="262" y="1077"/>
                    <a:pt x="281" y="1059"/>
                    <a:pt x="281" y="1036"/>
                  </a:cubicBezTo>
                  <a:lnTo>
                    <a:pt x="281" y="638"/>
                  </a:lnTo>
                  <a:cubicBezTo>
                    <a:pt x="281" y="616"/>
                    <a:pt x="294" y="584"/>
                    <a:pt x="311" y="568"/>
                  </a:cubicBezTo>
                  <a:lnTo>
                    <a:pt x="555" y="328"/>
                  </a:lnTo>
                  <a:cubicBezTo>
                    <a:pt x="572" y="313"/>
                    <a:pt x="603" y="300"/>
                    <a:pt x="626" y="300"/>
                  </a:cubicBezTo>
                  <a:lnTo>
                    <a:pt x="933" y="300"/>
                  </a:lnTo>
                  <a:cubicBezTo>
                    <a:pt x="956" y="300"/>
                    <a:pt x="987" y="286"/>
                    <a:pt x="1003" y="270"/>
                  </a:cubicBezTo>
                  <a:lnTo>
                    <a:pt x="1244" y="29"/>
                  </a:lnTo>
                  <a:cubicBezTo>
                    <a:pt x="1260" y="13"/>
                    <a:pt x="1255" y="0"/>
                    <a:pt x="1232" y="0"/>
                  </a:cubicBezTo>
                  <a:lnTo>
                    <a:pt x="1007" y="0"/>
                  </a:lnTo>
                  <a:lnTo>
                    <a:pt x="924" y="0"/>
                  </a:lnTo>
                  <a:lnTo>
                    <a:pt x="594" y="0"/>
                  </a:lnTo>
                  <a:cubicBezTo>
                    <a:pt x="571" y="0"/>
                    <a:pt x="539" y="13"/>
                    <a:pt x="523" y="30"/>
                  </a:cubicBezTo>
                  <a:lnTo>
                    <a:pt x="29" y="526"/>
                  </a:lnTo>
                  <a:cubicBezTo>
                    <a:pt x="13" y="543"/>
                    <a:pt x="0" y="574"/>
                    <a:pt x="0" y="597"/>
                  </a:cubicBezTo>
                  <a:lnTo>
                    <a:pt x="0" y="1036"/>
                  </a:lnTo>
                  <a:close/>
                </a:path>
              </a:pathLst>
            </a:custGeom>
            <a:solidFill>
              <a:srgbClr val="D2D2D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Freeform 8">
              <a:extLst>
                <a:ext uri="{FF2B5EF4-FFF2-40B4-BE49-F238E27FC236}">
                  <a16:creationId xmlns="" xmlns:a16="http://schemas.microsoft.com/office/drawing/2014/main" id="{4E2564C2-F826-4138-AA60-6DA7A4DBE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863" y="1565275"/>
              <a:ext cx="7737475" cy="4475163"/>
            </a:xfrm>
            <a:custGeom>
              <a:avLst/>
              <a:gdLst>
                <a:gd name="T0" fmla="*/ 13140 w 13720"/>
                <a:gd name="T1" fmla="*/ 3493 h 7931"/>
                <a:gd name="T2" fmla="*/ 12537 w 13720"/>
                <a:gd name="T3" fmla="*/ 2423 h 7931"/>
                <a:gd name="T4" fmla="*/ 12063 w 13720"/>
                <a:gd name="T5" fmla="*/ 2583 h 7931"/>
                <a:gd name="T6" fmla="*/ 12115 w 13720"/>
                <a:gd name="T7" fmla="*/ 3289 h 7931"/>
                <a:gd name="T8" fmla="*/ 12090 w 13720"/>
                <a:gd name="T9" fmla="*/ 5230 h 7931"/>
                <a:gd name="T10" fmla="*/ 12933 w 13720"/>
                <a:gd name="T11" fmla="*/ 5576 h 7931"/>
                <a:gd name="T12" fmla="*/ 13001 w 13720"/>
                <a:gd name="T13" fmla="*/ 7325 h 7931"/>
                <a:gd name="T14" fmla="*/ 12684 w 13720"/>
                <a:gd name="T15" fmla="*/ 7042 h 7931"/>
                <a:gd name="T16" fmla="*/ 12635 w 13720"/>
                <a:gd name="T17" fmla="*/ 6279 h 7931"/>
                <a:gd name="T18" fmla="*/ 11660 w 13720"/>
                <a:gd name="T19" fmla="*/ 6505 h 7931"/>
                <a:gd name="T20" fmla="*/ 10604 w 13720"/>
                <a:gd name="T21" fmla="*/ 6392 h 7931"/>
                <a:gd name="T22" fmla="*/ 10069 w 13720"/>
                <a:gd name="T23" fmla="*/ 7295 h 7931"/>
                <a:gd name="T24" fmla="*/ 8168 w 13720"/>
                <a:gd name="T25" fmla="*/ 7310 h 7931"/>
                <a:gd name="T26" fmla="*/ 7514 w 13720"/>
                <a:gd name="T27" fmla="*/ 7736 h 7931"/>
                <a:gd name="T28" fmla="*/ 7390 w 13720"/>
                <a:gd name="T29" fmla="*/ 7612 h 7931"/>
                <a:gd name="T30" fmla="*/ 6343 w 13720"/>
                <a:gd name="T31" fmla="*/ 7685 h 7931"/>
                <a:gd name="T32" fmla="*/ 5129 w 13720"/>
                <a:gd name="T33" fmla="*/ 6857 h 7931"/>
                <a:gd name="T34" fmla="*/ 3710 w 13720"/>
                <a:gd name="T35" fmla="*/ 6426 h 7931"/>
                <a:gd name="T36" fmla="*/ 3325 w 13720"/>
                <a:gd name="T37" fmla="*/ 6999 h 7931"/>
                <a:gd name="T38" fmla="*/ 2479 w 13720"/>
                <a:gd name="T39" fmla="*/ 6194 h 7931"/>
                <a:gd name="T40" fmla="*/ 1631 w 13720"/>
                <a:gd name="T41" fmla="*/ 6979 h 7931"/>
                <a:gd name="T42" fmla="*/ 1291 w 13720"/>
                <a:gd name="T43" fmla="*/ 7525 h 7931"/>
                <a:gd name="T44" fmla="*/ 789 w 13720"/>
                <a:gd name="T45" fmla="*/ 7206 h 7931"/>
                <a:gd name="T46" fmla="*/ 750 w 13720"/>
                <a:gd name="T47" fmla="*/ 5812 h 7931"/>
                <a:gd name="T48" fmla="*/ 413 w 13720"/>
                <a:gd name="T49" fmla="*/ 6061 h 7931"/>
                <a:gd name="T50" fmla="*/ 20 w 13720"/>
                <a:gd name="T51" fmla="*/ 5946 h 7931"/>
                <a:gd name="T52" fmla="*/ 58 w 13720"/>
                <a:gd name="T53" fmla="*/ 5654 h 7931"/>
                <a:gd name="T54" fmla="*/ 272 w 13720"/>
                <a:gd name="T55" fmla="*/ 5661 h 7931"/>
                <a:gd name="T56" fmla="*/ 209 w 13720"/>
                <a:gd name="T57" fmla="*/ 5291 h 7931"/>
                <a:gd name="T58" fmla="*/ 643 w 13720"/>
                <a:gd name="T59" fmla="*/ 5403 h 7931"/>
                <a:gd name="T60" fmla="*/ 1144 w 13720"/>
                <a:gd name="T61" fmla="*/ 5406 h 7931"/>
                <a:gd name="T62" fmla="*/ 1250 w 13720"/>
                <a:gd name="T63" fmla="*/ 4062 h 7931"/>
                <a:gd name="T64" fmla="*/ 2427 w 13720"/>
                <a:gd name="T65" fmla="*/ 3111 h 7931"/>
                <a:gd name="T66" fmla="*/ 3609 w 13720"/>
                <a:gd name="T67" fmla="*/ 2334 h 7931"/>
                <a:gd name="T68" fmla="*/ 3269 w 13720"/>
                <a:gd name="T69" fmla="*/ 2951 h 7931"/>
                <a:gd name="T70" fmla="*/ 2874 w 13720"/>
                <a:gd name="T71" fmla="*/ 3372 h 7931"/>
                <a:gd name="T72" fmla="*/ 4243 w 13720"/>
                <a:gd name="T73" fmla="*/ 3268 h 7931"/>
                <a:gd name="T74" fmla="*/ 5381 w 13720"/>
                <a:gd name="T75" fmla="*/ 3892 h 7931"/>
                <a:gd name="T76" fmla="*/ 5690 w 13720"/>
                <a:gd name="T77" fmla="*/ 3262 h 7931"/>
                <a:gd name="T78" fmla="*/ 5427 w 13720"/>
                <a:gd name="T79" fmla="*/ 4337 h 7931"/>
                <a:gd name="T80" fmla="*/ 6076 w 13720"/>
                <a:gd name="T81" fmla="*/ 3296 h 7931"/>
                <a:gd name="T82" fmla="*/ 6679 w 13720"/>
                <a:gd name="T83" fmla="*/ 3394 h 7931"/>
                <a:gd name="T84" fmla="*/ 6876 w 13720"/>
                <a:gd name="T85" fmla="*/ 2984 h 7931"/>
                <a:gd name="T86" fmla="*/ 7622 w 13720"/>
                <a:gd name="T87" fmla="*/ 2280 h 7931"/>
                <a:gd name="T88" fmla="*/ 8013 w 13720"/>
                <a:gd name="T89" fmla="*/ 2736 h 7931"/>
                <a:gd name="T90" fmla="*/ 8970 w 13720"/>
                <a:gd name="T91" fmla="*/ 2737 h 7931"/>
                <a:gd name="T92" fmla="*/ 9589 w 13720"/>
                <a:gd name="T93" fmla="*/ 2837 h 7931"/>
                <a:gd name="T94" fmla="*/ 9863 w 13720"/>
                <a:gd name="T95" fmla="*/ 2022 h 7931"/>
                <a:gd name="T96" fmla="*/ 10654 w 13720"/>
                <a:gd name="T97" fmla="*/ 1469 h 7931"/>
                <a:gd name="T98" fmla="*/ 11333 w 13720"/>
                <a:gd name="T99" fmla="*/ 975 h 7931"/>
                <a:gd name="T100" fmla="*/ 12459 w 13720"/>
                <a:gd name="T101" fmla="*/ 314 h 7931"/>
                <a:gd name="T102" fmla="*/ 12397 w 13720"/>
                <a:gd name="T103" fmla="*/ 878 h 7931"/>
                <a:gd name="T104" fmla="*/ 12751 w 13720"/>
                <a:gd name="T105" fmla="*/ 2092 h 79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720" h="7931">
                  <a:moveTo>
                    <a:pt x="13720" y="3102"/>
                  </a:moveTo>
                  <a:lnTo>
                    <a:pt x="13720" y="3102"/>
                  </a:lnTo>
                  <a:lnTo>
                    <a:pt x="13720" y="3481"/>
                  </a:lnTo>
                  <a:cubicBezTo>
                    <a:pt x="13720" y="3504"/>
                    <a:pt x="13701" y="3523"/>
                    <a:pt x="13678" y="3523"/>
                  </a:cubicBezTo>
                  <a:lnTo>
                    <a:pt x="13210" y="3523"/>
                  </a:lnTo>
                  <a:cubicBezTo>
                    <a:pt x="13187" y="3523"/>
                    <a:pt x="13156" y="3510"/>
                    <a:pt x="13140" y="3493"/>
                  </a:cubicBezTo>
                  <a:lnTo>
                    <a:pt x="12772" y="3126"/>
                  </a:lnTo>
                  <a:cubicBezTo>
                    <a:pt x="12756" y="3110"/>
                    <a:pt x="12743" y="3078"/>
                    <a:pt x="12743" y="3055"/>
                  </a:cubicBezTo>
                  <a:lnTo>
                    <a:pt x="12743" y="2711"/>
                  </a:lnTo>
                  <a:cubicBezTo>
                    <a:pt x="12743" y="2688"/>
                    <a:pt x="12730" y="2657"/>
                    <a:pt x="12714" y="2641"/>
                  </a:cubicBezTo>
                  <a:lnTo>
                    <a:pt x="12567" y="2494"/>
                  </a:lnTo>
                  <a:cubicBezTo>
                    <a:pt x="12551" y="2478"/>
                    <a:pt x="12537" y="2446"/>
                    <a:pt x="12537" y="2423"/>
                  </a:cubicBezTo>
                  <a:lnTo>
                    <a:pt x="12537" y="2072"/>
                  </a:lnTo>
                  <a:cubicBezTo>
                    <a:pt x="12537" y="2050"/>
                    <a:pt x="12519" y="2031"/>
                    <a:pt x="12496" y="2031"/>
                  </a:cubicBezTo>
                  <a:lnTo>
                    <a:pt x="12260" y="2031"/>
                  </a:lnTo>
                  <a:lnTo>
                    <a:pt x="12260" y="2346"/>
                  </a:lnTo>
                  <a:cubicBezTo>
                    <a:pt x="12260" y="2368"/>
                    <a:pt x="12246" y="2400"/>
                    <a:pt x="12230" y="2416"/>
                  </a:cubicBezTo>
                  <a:lnTo>
                    <a:pt x="12063" y="2583"/>
                  </a:lnTo>
                  <a:cubicBezTo>
                    <a:pt x="12047" y="2599"/>
                    <a:pt x="12047" y="2625"/>
                    <a:pt x="12063" y="2642"/>
                  </a:cubicBezTo>
                  <a:lnTo>
                    <a:pt x="12299" y="2877"/>
                  </a:lnTo>
                  <a:cubicBezTo>
                    <a:pt x="12315" y="2893"/>
                    <a:pt x="12329" y="2925"/>
                    <a:pt x="12329" y="2948"/>
                  </a:cubicBezTo>
                  <a:lnTo>
                    <a:pt x="12329" y="3034"/>
                  </a:lnTo>
                  <a:cubicBezTo>
                    <a:pt x="12329" y="3056"/>
                    <a:pt x="12315" y="3088"/>
                    <a:pt x="12299" y="3104"/>
                  </a:cubicBezTo>
                  <a:lnTo>
                    <a:pt x="12115" y="3289"/>
                  </a:lnTo>
                  <a:cubicBezTo>
                    <a:pt x="12098" y="3305"/>
                    <a:pt x="12072" y="3331"/>
                    <a:pt x="12056" y="3347"/>
                  </a:cubicBezTo>
                  <a:lnTo>
                    <a:pt x="11838" y="3565"/>
                  </a:lnTo>
                  <a:cubicBezTo>
                    <a:pt x="11822" y="3581"/>
                    <a:pt x="11809" y="3613"/>
                    <a:pt x="11809" y="3636"/>
                  </a:cubicBezTo>
                  <a:lnTo>
                    <a:pt x="11809" y="5189"/>
                  </a:lnTo>
                  <a:cubicBezTo>
                    <a:pt x="11809" y="5212"/>
                    <a:pt x="11827" y="5230"/>
                    <a:pt x="11850" y="5230"/>
                  </a:cubicBezTo>
                  <a:lnTo>
                    <a:pt x="12090" y="5230"/>
                  </a:lnTo>
                  <a:cubicBezTo>
                    <a:pt x="12113" y="5230"/>
                    <a:pt x="12132" y="5212"/>
                    <a:pt x="12132" y="5189"/>
                  </a:cubicBezTo>
                  <a:lnTo>
                    <a:pt x="12132" y="4960"/>
                  </a:lnTo>
                  <a:lnTo>
                    <a:pt x="12276" y="4960"/>
                  </a:lnTo>
                  <a:cubicBezTo>
                    <a:pt x="12299" y="4960"/>
                    <a:pt x="12331" y="4973"/>
                    <a:pt x="12347" y="4989"/>
                  </a:cubicBezTo>
                  <a:lnTo>
                    <a:pt x="12875" y="5517"/>
                  </a:lnTo>
                  <a:lnTo>
                    <a:pt x="12933" y="5576"/>
                  </a:lnTo>
                  <a:lnTo>
                    <a:pt x="13167" y="5810"/>
                  </a:lnTo>
                  <a:cubicBezTo>
                    <a:pt x="13183" y="5826"/>
                    <a:pt x="13197" y="5858"/>
                    <a:pt x="13197" y="5880"/>
                  </a:cubicBezTo>
                  <a:lnTo>
                    <a:pt x="13197" y="7130"/>
                  </a:lnTo>
                  <a:cubicBezTo>
                    <a:pt x="13197" y="7152"/>
                    <a:pt x="13183" y="7184"/>
                    <a:pt x="13167" y="7200"/>
                  </a:cubicBezTo>
                  <a:lnTo>
                    <a:pt x="13071" y="7296"/>
                  </a:lnTo>
                  <a:cubicBezTo>
                    <a:pt x="13055" y="7312"/>
                    <a:pt x="13024" y="7325"/>
                    <a:pt x="13001" y="7325"/>
                  </a:cubicBezTo>
                  <a:lnTo>
                    <a:pt x="12847" y="7325"/>
                  </a:lnTo>
                  <a:cubicBezTo>
                    <a:pt x="12824" y="7325"/>
                    <a:pt x="12792" y="7312"/>
                    <a:pt x="12776" y="7296"/>
                  </a:cubicBezTo>
                  <a:lnTo>
                    <a:pt x="12684" y="7205"/>
                  </a:lnTo>
                  <a:cubicBezTo>
                    <a:pt x="12668" y="7188"/>
                    <a:pt x="12656" y="7157"/>
                    <a:pt x="12656" y="7134"/>
                  </a:cubicBezTo>
                  <a:lnTo>
                    <a:pt x="12656" y="7113"/>
                  </a:lnTo>
                  <a:cubicBezTo>
                    <a:pt x="12656" y="7090"/>
                    <a:pt x="12668" y="7059"/>
                    <a:pt x="12684" y="7042"/>
                  </a:cubicBezTo>
                  <a:lnTo>
                    <a:pt x="12767" y="6960"/>
                  </a:lnTo>
                  <a:cubicBezTo>
                    <a:pt x="12783" y="6944"/>
                    <a:pt x="12796" y="6913"/>
                    <a:pt x="12796" y="6890"/>
                  </a:cubicBezTo>
                  <a:lnTo>
                    <a:pt x="12796" y="6441"/>
                  </a:lnTo>
                  <a:cubicBezTo>
                    <a:pt x="12796" y="6418"/>
                    <a:pt x="12783" y="6386"/>
                    <a:pt x="12767" y="6370"/>
                  </a:cubicBezTo>
                  <a:lnTo>
                    <a:pt x="12705" y="6308"/>
                  </a:lnTo>
                  <a:cubicBezTo>
                    <a:pt x="12689" y="6292"/>
                    <a:pt x="12657" y="6279"/>
                    <a:pt x="12635" y="6279"/>
                  </a:cubicBezTo>
                  <a:lnTo>
                    <a:pt x="12536" y="6279"/>
                  </a:lnTo>
                  <a:cubicBezTo>
                    <a:pt x="12513" y="6279"/>
                    <a:pt x="12481" y="6292"/>
                    <a:pt x="12465" y="6308"/>
                  </a:cubicBezTo>
                  <a:lnTo>
                    <a:pt x="12269" y="6505"/>
                  </a:lnTo>
                  <a:cubicBezTo>
                    <a:pt x="12253" y="6521"/>
                    <a:pt x="12221" y="6534"/>
                    <a:pt x="12198" y="6534"/>
                  </a:cubicBezTo>
                  <a:lnTo>
                    <a:pt x="11730" y="6534"/>
                  </a:lnTo>
                  <a:cubicBezTo>
                    <a:pt x="11708" y="6534"/>
                    <a:pt x="11676" y="6521"/>
                    <a:pt x="11660" y="6505"/>
                  </a:cubicBezTo>
                  <a:lnTo>
                    <a:pt x="11293" y="6137"/>
                  </a:lnTo>
                  <a:cubicBezTo>
                    <a:pt x="11277" y="6121"/>
                    <a:pt x="11245" y="6108"/>
                    <a:pt x="11222" y="6108"/>
                  </a:cubicBezTo>
                  <a:lnTo>
                    <a:pt x="10872" y="6108"/>
                  </a:lnTo>
                  <a:cubicBezTo>
                    <a:pt x="10849" y="6108"/>
                    <a:pt x="10817" y="6121"/>
                    <a:pt x="10801" y="6137"/>
                  </a:cubicBezTo>
                  <a:lnTo>
                    <a:pt x="10604" y="6334"/>
                  </a:lnTo>
                  <a:cubicBezTo>
                    <a:pt x="10588" y="6350"/>
                    <a:pt x="10588" y="6376"/>
                    <a:pt x="10604" y="6392"/>
                  </a:cubicBezTo>
                  <a:lnTo>
                    <a:pt x="10657" y="6445"/>
                  </a:lnTo>
                  <a:cubicBezTo>
                    <a:pt x="10673" y="6461"/>
                    <a:pt x="10686" y="6493"/>
                    <a:pt x="10686" y="6515"/>
                  </a:cubicBezTo>
                  <a:lnTo>
                    <a:pt x="10686" y="7250"/>
                  </a:lnTo>
                  <a:lnTo>
                    <a:pt x="10156" y="7250"/>
                  </a:lnTo>
                  <a:cubicBezTo>
                    <a:pt x="10133" y="7250"/>
                    <a:pt x="10102" y="7263"/>
                    <a:pt x="10086" y="7279"/>
                  </a:cubicBezTo>
                  <a:lnTo>
                    <a:pt x="10069" y="7295"/>
                  </a:lnTo>
                  <a:lnTo>
                    <a:pt x="9787" y="7578"/>
                  </a:lnTo>
                  <a:cubicBezTo>
                    <a:pt x="9771" y="7594"/>
                    <a:pt x="9739" y="7607"/>
                    <a:pt x="9716" y="7607"/>
                  </a:cubicBezTo>
                  <a:lnTo>
                    <a:pt x="8916" y="7607"/>
                  </a:lnTo>
                  <a:lnTo>
                    <a:pt x="8649" y="7340"/>
                  </a:lnTo>
                  <a:cubicBezTo>
                    <a:pt x="8633" y="7324"/>
                    <a:pt x="8601" y="7310"/>
                    <a:pt x="8578" y="7310"/>
                  </a:cubicBezTo>
                  <a:lnTo>
                    <a:pt x="8168" y="7310"/>
                  </a:lnTo>
                  <a:cubicBezTo>
                    <a:pt x="8146" y="7310"/>
                    <a:pt x="8127" y="7329"/>
                    <a:pt x="8127" y="7352"/>
                  </a:cubicBezTo>
                  <a:lnTo>
                    <a:pt x="8127" y="7863"/>
                  </a:lnTo>
                  <a:lnTo>
                    <a:pt x="7682" y="7863"/>
                  </a:lnTo>
                  <a:cubicBezTo>
                    <a:pt x="7659" y="7863"/>
                    <a:pt x="7627" y="7850"/>
                    <a:pt x="7612" y="7834"/>
                  </a:cubicBezTo>
                  <a:lnTo>
                    <a:pt x="7572" y="7795"/>
                  </a:lnTo>
                  <a:cubicBezTo>
                    <a:pt x="7556" y="7779"/>
                    <a:pt x="7530" y="7753"/>
                    <a:pt x="7514" y="7736"/>
                  </a:cubicBezTo>
                  <a:lnTo>
                    <a:pt x="7389" y="7611"/>
                  </a:lnTo>
                  <a:lnTo>
                    <a:pt x="7401" y="7600"/>
                  </a:lnTo>
                  <a:lnTo>
                    <a:pt x="7389" y="7611"/>
                  </a:lnTo>
                  <a:lnTo>
                    <a:pt x="7389" y="7611"/>
                  </a:lnTo>
                  <a:lnTo>
                    <a:pt x="7389" y="7612"/>
                  </a:lnTo>
                  <a:lnTo>
                    <a:pt x="7390" y="7612"/>
                  </a:lnTo>
                  <a:lnTo>
                    <a:pt x="7100" y="7901"/>
                  </a:lnTo>
                  <a:cubicBezTo>
                    <a:pt x="7084" y="7917"/>
                    <a:pt x="7052" y="7931"/>
                    <a:pt x="7029" y="7931"/>
                  </a:cubicBezTo>
                  <a:lnTo>
                    <a:pt x="6630" y="7931"/>
                  </a:lnTo>
                  <a:cubicBezTo>
                    <a:pt x="6607" y="7931"/>
                    <a:pt x="6575" y="7917"/>
                    <a:pt x="6559" y="7901"/>
                  </a:cubicBezTo>
                  <a:lnTo>
                    <a:pt x="6401" y="7744"/>
                  </a:lnTo>
                  <a:cubicBezTo>
                    <a:pt x="6385" y="7728"/>
                    <a:pt x="6359" y="7701"/>
                    <a:pt x="6343" y="7685"/>
                  </a:cubicBezTo>
                  <a:lnTo>
                    <a:pt x="6234" y="7576"/>
                  </a:lnTo>
                  <a:cubicBezTo>
                    <a:pt x="6218" y="7560"/>
                    <a:pt x="6191" y="7534"/>
                    <a:pt x="6175" y="7518"/>
                  </a:cubicBezTo>
                  <a:lnTo>
                    <a:pt x="5573" y="6915"/>
                  </a:lnTo>
                  <a:cubicBezTo>
                    <a:pt x="5557" y="6899"/>
                    <a:pt x="5526" y="6886"/>
                    <a:pt x="5503" y="6886"/>
                  </a:cubicBezTo>
                  <a:lnTo>
                    <a:pt x="5199" y="6886"/>
                  </a:lnTo>
                  <a:cubicBezTo>
                    <a:pt x="5176" y="6886"/>
                    <a:pt x="5145" y="6873"/>
                    <a:pt x="5129" y="6857"/>
                  </a:cubicBezTo>
                  <a:lnTo>
                    <a:pt x="4996" y="6725"/>
                  </a:lnTo>
                  <a:cubicBezTo>
                    <a:pt x="4980" y="6709"/>
                    <a:pt x="4967" y="6677"/>
                    <a:pt x="4967" y="6654"/>
                  </a:cubicBezTo>
                  <a:lnTo>
                    <a:pt x="4967" y="6438"/>
                  </a:lnTo>
                  <a:cubicBezTo>
                    <a:pt x="4967" y="6416"/>
                    <a:pt x="4948" y="6397"/>
                    <a:pt x="4926" y="6397"/>
                  </a:cubicBezTo>
                  <a:lnTo>
                    <a:pt x="3781" y="6397"/>
                  </a:lnTo>
                  <a:cubicBezTo>
                    <a:pt x="3758" y="6397"/>
                    <a:pt x="3726" y="6410"/>
                    <a:pt x="3710" y="6426"/>
                  </a:cubicBezTo>
                  <a:lnTo>
                    <a:pt x="3667" y="6469"/>
                  </a:lnTo>
                  <a:cubicBezTo>
                    <a:pt x="3651" y="6485"/>
                    <a:pt x="3638" y="6517"/>
                    <a:pt x="3638" y="6540"/>
                  </a:cubicBezTo>
                  <a:lnTo>
                    <a:pt x="3638" y="6986"/>
                  </a:lnTo>
                  <a:cubicBezTo>
                    <a:pt x="3638" y="7009"/>
                    <a:pt x="3620" y="7028"/>
                    <a:pt x="3597" y="7028"/>
                  </a:cubicBezTo>
                  <a:lnTo>
                    <a:pt x="3396" y="7028"/>
                  </a:lnTo>
                  <a:cubicBezTo>
                    <a:pt x="3373" y="7028"/>
                    <a:pt x="3341" y="7015"/>
                    <a:pt x="3325" y="6999"/>
                  </a:cubicBezTo>
                  <a:lnTo>
                    <a:pt x="3160" y="6833"/>
                  </a:lnTo>
                  <a:cubicBezTo>
                    <a:pt x="3144" y="6817"/>
                    <a:pt x="3117" y="6791"/>
                    <a:pt x="3101" y="6774"/>
                  </a:cubicBezTo>
                  <a:lnTo>
                    <a:pt x="2920" y="6593"/>
                  </a:lnTo>
                  <a:cubicBezTo>
                    <a:pt x="2904" y="6577"/>
                    <a:pt x="2878" y="6551"/>
                    <a:pt x="2862" y="6535"/>
                  </a:cubicBezTo>
                  <a:lnTo>
                    <a:pt x="2550" y="6223"/>
                  </a:lnTo>
                  <a:cubicBezTo>
                    <a:pt x="2534" y="6207"/>
                    <a:pt x="2502" y="6194"/>
                    <a:pt x="2479" y="6194"/>
                  </a:cubicBezTo>
                  <a:lnTo>
                    <a:pt x="1877" y="6194"/>
                  </a:lnTo>
                  <a:cubicBezTo>
                    <a:pt x="1854" y="6194"/>
                    <a:pt x="1823" y="6207"/>
                    <a:pt x="1807" y="6223"/>
                  </a:cubicBezTo>
                  <a:lnTo>
                    <a:pt x="1701" y="6329"/>
                  </a:lnTo>
                  <a:cubicBezTo>
                    <a:pt x="1685" y="6345"/>
                    <a:pt x="1672" y="6376"/>
                    <a:pt x="1672" y="6399"/>
                  </a:cubicBezTo>
                  <a:lnTo>
                    <a:pt x="1672" y="6937"/>
                  </a:lnTo>
                  <a:cubicBezTo>
                    <a:pt x="1672" y="6960"/>
                    <a:pt x="1654" y="6979"/>
                    <a:pt x="1631" y="6979"/>
                  </a:cubicBezTo>
                  <a:lnTo>
                    <a:pt x="1569" y="6979"/>
                  </a:lnTo>
                  <a:cubicBezTo>
                    <a:pt x="1546" y="6979"/>
                    <a:pt x="1514" y="6992"/>
                    <a:pt x="1498" y="7008"/>
                  </a:cubicBezTo>
                  <a:lnTo>
                    <a:pt x="1362" y="7144"/>
                  </a:lnTo>
                  <a:cubicBezTo>
                    <a:pt x="1346" y="7160"/>
                    <a:pt x="1332" y="7192"/>
                    <a:pt x="1332" y="7215"/>
                  </a:cubicBezTo>
                  <a:lnTo>
                    <a:pt x="1332" y="7484"/>
                  </a:lnTo>
                  <a:cubicBezTo>
                    <a:pt x="1332" y="7506"/>
                    <a:pt x="1314" y="7525"/>
                    <a:pt x="1291" y="7525"/>
                  </a:cubicBezTo>
                  <a:lnTo>
                    <a:pt x="1046" y="7525"/>
                  </a:lnTo>
                  <a:cubicBezTo>
                    <a:pt x="1023" y="7525"/>
                    <a:pt x="1004" y="7506"/>
                    <a:pt x="1004" y="7484"/>
                  </a:cubicBezTo>
                  <a:lnTo>
                    <a:pt x="1004" y="7463"/>
                  </a:lnTo>
                  <a:cubicBezTo>
                    <a:pt x="1004" y="7440"/>
                    <a:pt x="991" y="7408"/>
                    <a:pt x="975" y="7392"/>
                  </a:cubicBezTo>
                  <a:lnTo>
                    <a:pt x="847" y="7264"/>
                  </a:lnTo>
                  <a:cubicBezTo>
                    <a:pt x="831" y="7248"/>
                    <a:pt x="805" y="7222"/>
                    <a:pt x="789" y="7206"/>
                  </a:cubicBezTo>
                  <a:lnTo>
                    <a:pt x="526" y="6944"/>
                  </a:lnTo>
                  <a:cubicBezTo>
                    <a:pt x="510" y="6928"/>
                    <a:pt x="497" y="6896"/>
                    <a:pt x="497" y="6873"/>
                  </a:cubicBezTo>
                  <a:lnTo>
                    <a:pt x="497" y="6254"/>
                  </a:lnTo>
                  <a:cubicBezTo>
                    <a:pt x="497" y="6231"/>
                    <a:pt x="510" y="6200"/>
                    <a:pt x="526" y="6183"/>
                  </a:cubicBezTo>
                  <a:lnTo>
                    <a:pt x="793" y="5917"/>
                  </a:lnTo>
                  <a:cubicBezTo>
                    <a:pt x="832" y="5878"/>
                    <a:pt x="804" y="5812"/>
                    <a:pt x="750" y="5812"/>
                  </a:cubicBezTo>
                  <a:lnTo>
                    <a:pt x="500" y="5812"/>
                  </a:lnTo>
                  <a:cubicBezTo>
                    <a:pt x="484" y="5812"/>
                    <a:pt x="468" y="5805"/>
                    <a:pt x="457" y="5794"/>
                  </a:cubicBezTo>
                  <a:lnTo>
                    <a:pt x="437" y="5775"/>
                  </a:lnTo>
                  <a:lnTo>
                    <a:pt x="296" y="5916"/>
                  </a:lnTo>
                  <a:cubicBezTo>
                    <a:pt x="288" y="5924"/>
                    <a:pt x="288" y="5937"/>
                    <a:pt x="296" y="5945"/>
                  </a:cubicBezTo>
                  <a:lnTo>
                    <a:pt x="413" y="6061"/>
                  </a:lnTo>
                  <a:cubicBezTo>
                    <a:pt x="421" y="6069"/>
                    <a:pt x="421" y="6082"/>
                    <a:pt x="413" y="6090"/>
                  </a:cubicBezTo>
                  <a:lnTo>
                    <a:pt x="349" y="6154"/>
                  </a:lnTo>
                  <a:cubicBezTo>
                    <a:pt x="341" y="6162"/>
                    <a:pt x="328" y="6162"/>
                    <a:pt x="320" y="6154"/>
                  </a:cubicBezTo>
                  <a:lnTo>
                    <a:pt x="127" y="5961"/>
                  </a:lnTo>
                  <a:cubicBezTo>
                    <a:pt x="119" y="5953"/>
                    <a:pt x="103" y="5946"/>
                    <a:pt x="92" y="5946"/>
                  </a:cubicBezTo>
                  <a:lnTo>
                    <a:pt x="20" y="5946"/>
                  </a:lnTo>
                  <a:cubicBezTo>
                    <a:pt x="9" y="5946"/>
                    <a:pt x="0" y="5937"/>
                    <a:pt x="0" y="5926"/>
                  </a:cubicBezTo>
                  <a:lnTo>
                    <a:pt x="0" y="5851"/>
                  </a:lnTo>
                  <a:cubicBezTo>
                    <a:pt x="0" y="5840"/>
                    <a:pt x="6" y="5824"/>
                    <a:pt x="14" y="5816"/>
                  </a:cubicBezTo>
                  <a:lnTo>
                    <a:pt x="44" y="5786"/>
                  </a:lnTo>
                  <a:cubicBezTo>
                    <a:pt x="52" y="5778"/>
                    <a:pt x="58" y="5763"/>
                    <a:pt x="58" y="5751"/>
                  </a:cubicBezTo>
                  <a:lnTo>
                    <a:pt x="58" y="5654"/>
                  </a:lnTo>
                  <a:cubicBezTo>
                    <a:pt x="58" y="5643"/>
                    <a:pt x="65" y="5627"/>
                    <a:pt x="73" y="5619"/>
                  </a:cubicBezTo>
                  <a:lnTo>
                    <a:pt x="111" y="5581"/>
                  </a:lnTo>
                  <a:cubicBezTo>
                    <a:pt x="119" y="5573"/>
                    <a:pt x="132" y="5573"/>
                    <a:pt x="140" y="5581"/>
                  </a:cubicBezTo>
                  <a:lnTo>
                    <a:pt x="220" y="5661"/>
                  </a:lnTo>
                  <a:cubicBezTo>
                    <a:pt x="234" y="5675"/>
                    <a:pt x="258" y="5675"/>
                    <a:pt x="272" y="5661"/>
                  </a:cubicBezTo>
                  <a:lnTo>
                    <a:pt x="272" y="5661"/>
                  </a:lnTo>
                  <a:cubicBezTo>
                    <a:pt x="286" y="5647"/>
                    <a:pt x="286" y="5623"/>
                    <a:pt x="272" y="5609"/>
                  </a:cubicBezTo>
                  <a:lnTo>
                    <a:pt x="143" y="5481"/>
                  </a:lnTo>
                  <a:cubicBezTo>
                    <a:pt x="132" y="5469"/>
                    <a:pt x="125" y="5454"/>
                    <a:pt x="125" y="5437"/>
                  </a:cubicBezTo>
                  <a:lnTo>
                    <a:pt x="125" y="5399"/>
                  </a:lnTo>
                  <a:cubicBezTo>
                    <a:pt x="125" y="5383"/>
                    <a:pt x="132" y="5367"/>
                    <a:pt x="144" y="5356"/>
                  </a:cubicBezTo>
                  <a:lnTo>
                    <a:pt x="209" y="5291"/>
                  </a:lnTo>
                  <a:cubicBezTo>
                    <a:pt x="220" y="5279"/>
                    <a:pt x="236" y="5273"/>
                    <a:pt x="252" y="5273"/>
                  </a:cubicBezTo>
                  <a:lnTo>
                    <a:pt x="344" y="5273"/>
                  </a:lnTo>
                  <a:cubicBezTo>
                    <a:pt x="360" y="5273"/>
                    <a:pt x="376" y="5279"/>
                    <a:pt x="388" y="5291"/>
                  </a:cubicBezTo>
                  <a:lnTo>
                    <a:pt x="482" y="5385"/>
                  </a:lnTo>
                  <a:cubicBezTo>
                    <a:pt x="493" y="5396"/>
                    <a:pt x="509" y="5403"/>
                    <a:pt x="525" y="5403"/>
                  </a:cubicBezTo>
                  <a:lnTo>
                    <a:pt x="643" y="5403"/>
                  </a:lnTo>
                  <a:cubicBezTo>
                    <a:pt x="660" y="5403"/>
                    <a:pt x="675" y="5409"/>
                    <a:pt x="687" y="5421"/>
                  </a:cubicBezTo>
                  <a:lnTo>
                    <a:pt x="744" y="5477"/>
                  </a:lnTo>
                  <a:cubicBezTo>
                    <a:pt x="755" y="5489"/>
                    <a:pt x="771" y="5495"/>
                    <a:pt x="787" y="5495"/>
                  </a:cubicBezTo>
                  <a:lnTo>
                    <a:pt x="1030" y="5495"/>
                  </a:lnTo>
                  <a:cubicBezTo>
                    <a:pt x="1046" y="5495"/>
                    <a:pt x="1062" y="5489"/>
                    <a:pt x="1073" y="5477"/>
                  </a:cubicBezTo>
                  <a:lnTo>
                    <a:pt x="1144" y="5406"/>
                  </a:lnTo>
                  <a:cubicBezTo>
                    <a:pt x="1168" y="5382"/>
                    <a:pt x="1168" y="5343"/>
                    <a:pt x="1144" y="5319"/>
                  </a:cubicBezTo>
                  <a:lnTo>
                    <a:pt x="1004" y="5179"/>
                  </a:lnTo>
                  <a:cubicBezTo>
                    <a:pt x="988" y="5163"/>
                    <a:pt x="975" y="5132"/>
                    <a:pt x="975" y="5109"/>
                  </a:cubicBezTo>
                  <a:lnTo>
                    <a:pt x="975" y="4378"/>
                  </a:lnTo>
                  <a:cubicBezTo>
                    <a:pt x="975" y="4356"/>
                    <a:pt x="988" y="4324"/>
                    <a:pt x="1004" y="4308"/>
                  </a:cubicBezTo>
                  <a:lnTo>
                    <a:pt x="1250" y="4062"/>
                  </a:lnTo>
                  <a:cubicBezTo>
                    <a:pt x="1266" y="4046"/>
                    <a:pt x="1279" y="4014"/>
                    <a:pt x="1279" y="3992"/>
                  </a:cubicBezTo>
                  <a:lnTo>
                    <a:pt x="1279" y="3679"/>
                  </a:lnTo>
                  <a:cubicBezTo>
                    <a:pt x="1279" y="3657"/>
                    <a:pt x="1292" y="3625"/>
                    <a:pt x="1308" y="3609"/>
                  </a:cubicBezTo>
                  <a:lnTo>
                    <a:pt x="1777" y="3140"/>
                  </a:lnTo>
                  <a:cubicBezTo>
                    <a:pt x="1793" y="3124"/>
                    <a:pt x="1825" y="3111"/>
                    <a:pt x="1847" y="3111"/>
                  </a:cubicBezTo>
                  <a:lnTo>
                    <a:pt x="2427" y="3111"/>
                  </a:lnTo>
                  <a:cubicBezTo>
                    <a:pt x="2450" y="3111"/>
                    <a:pt x="2468" y="3093"/>
                    <a:pt x="2468" y="3070"/>
                  </a:cubicBezTo>
                  <a:lnTo>
                    <a:pt x="2468" y="2961"/>
                  </a:lnTo>
                  <a:cubicBezTo>
                    <a:pt x="2468" y="2938"/>
                    <a:pt x="2481" y="2907"/>
                    <a:pt x="2497" y="2891"/>
                  </a:cubicBezTo>
                  <a:lnTo>
                    <a:pt x="3303" y="2085"/>
                  </a:lnTo>
                  <a:cubicBezTo>
                    <a:pt x="3319" y="2069"/>
                    <a:pt x="3345" y="2069"/>
                    <a:pt x="3361" y="2085"/>
                  </a:cubicBezTo>
                  <a:lnTo>
                    <a:pt x="3609" y="2334"/>
                  </a:lnTo>
                  <a:cubicBezTo>
                    <a:pt x="3625" y="2350"/>
                    <a:pt x="3638" y="2382"/>
                    <a:pt x="3638" y="2404"/>
                  </a:cubicBezTo>
                  <a:lnTo>
                    <a:pt x="3638" y="3054"/>
                  </a:lnTo>
                  <a:cubicBezTo>
                    <a:pt x="3638" y="3077"/>
                    <a:pt x="3620" y="3095"/>
                    <a:pt x="3597" y="3095"/>
                  </a:cubicBezTo>
                  <a:lnTo>
                    <a:pt x="3454" y="3095"/>
                  </a:lnTo>
                  <a:cubicBezTo>
                    <a:pt x="3431" y="3095"/>
                    <a:pt x="3399" y="3082"/>
                    <a:pt x="3383" y="3066"/>
                  </a:cubicBezTo>
                  <a:lnTo>
                    <a:pt x="3269" y="2951"/>
                  </a:lnTo>
                  <a:cubicBezTo>
                    <a:pt x="3253" y="2935"/>
                    <a:pt x="3240" y="2904"/>
                    <a:pt x="3240" y="2881"/>
                  </a:cubicBezTo>
                  <a:lnTo>
                    <a:pt x="3240" y="2698"/>
                  </a:lnTo>
                  <a:cubicBezTo>
                    <a:pt x="3240" y="2675"/>
                    <a:pt x="3227" y="2670"/>
                    <a:pt x="3210" y="2686"/>
                  </a:cubicBezTo>
                  <a:lnTo>
                    <a:pt x="2903" y="2994"/>
                  </a:lnTo>
                  <a:cubicBezTo>
                    <a:pt x="2887" y="3010"/>
                    <a:pt x="2874" y="3041"/>
                    <a:pt x="2874" y="3064"/>
                  </a:cubicBezTo>
                  <a:lnTo>
                    <a:pt x="2874" y="3372"/>
                  </a:lnTo>
                  <a:cubicBezTo>
                    <a:pt x="2874" y="3395"/>
                    <a:pt x="2892" y="3414"/>
                    <a:pt x="2915" y="3414"/>
                  </a:cubicBezTo>
                  <a:lnTo>
                    <a:pt x="3121" y="3414"/>
                  </a:lnTo>
                  <a:cubicBezTo>
                    <a:pt x="3144" y="3414"/>
                    <a:pt x="3175" y="3401"/>
                    <a:pt x="3192" y="3385"/>
                  </a:cubicBezTo>
                  <a:lnTo>
                    <a:pt x="3278" y="3298"/>
                  </a:lnTo>
                  <a:cubicBezTo>
                    <a:pt x="3295" y="3282"/>
                    <a:pt x="3326" y="3268"/>
                    <a:pt x="3349" y="3268"/>
                  </a:cubicBezTo>
                  <a:lnTo>
                    <a:pt x="4243" y="3268"/>
                  </a:lnTo>
                  <a:cubicBezTo>
                    <a:pt x="4266" y="3268"/>
                    <a:pt x="4298" y="3282"/>
                    <a:pt x="4314" y="3298"/>
                  </a:cubicBezTo>
                  <a:lnTo>
                    <a:pt x="4486" y="3470"/>
                  </a:lnTo>
                  <a:cubicBezTo>
                    <a:pt x="4502" y="3486"/>
                    <a:pt x="4534" y="3499"/>
                    <a:pt x="4556" y="3499"/>
                  </a:cubicBezTo>
                  <a:lnTo>
                    <a:pt x="4947" y="3499"/>
                  </a:lnTo>
                  <a:cubicBezTo>
                    <a:pt x="4969" y="3499"/>
                    <a:pt x="5001" y="3512"/>
                    <a:pt x="5017" y="3528"/>
                  </a:cubicBezTo>
                  <a:lnTo>
                    <a:pt x="5381" y="3892"/>
                  </a:lnTo>
                  <a:cubicBezTo>
                    <a:pt x="5397" y="3909"/>
                    <a:pt x="5424" y="3909"/>
                    <a:pt x="5440" y="3892"/>
                  </a:cubicBezTo>
                  <a:lnTo>
                    <a:pt x="5496" y="3835"/>
                  </a:lnTo>
                  <a:cubicBezTo>
                    <a:pt x="5512" y="3819"/>
                    <a:pt x="5526" y="3788"/>
                    <a:pt x="5526" y="3765"/>
                  </a:cubicBezTo>
                  <a:lnTo>
                    <a:pt x="5526" y="3467"/>
                  </a:lnTo>
                  <a:cubicBezTo>
                    <a:pt x="5526" y="3445"/>
                    <a:pt x="5539" y="3413"/>
                    <a:pt x="5555" y="3397"/>
                  </a:cubicBezTo>
                  <a:lnTo>
                    <a:pt x="5690" y="3262"/>
                  </a:lnTo>
                  <a:cubicBezTo>
                    <a:pt x="5706" y="3246"/>
                    <a:pt x="5732" y="3219"/>
                    <a:pt x="5748" y="3203"/>
                  </a:cubicBezTo>
                  <a:lnTo>
                    <a:pt x="5829" y="3122"/>
                  </a:lnTo>
                  <a:cubicBezTo>
                    <a:pt x="5845" y="3106"/>
                    <a:pt x="5858" y="3112"/>
                    <a:pt x="5858" y="3134"/>
                  </a:cubicBezTo>
                  <a:lnTo>
                    <a:pt x="5858" y="3864"/>
                  </a:lnTo>
                  <a:cubicBezTo>
                    <a:pt x="5858" y="3887"/>
                    <a:pt x="5845" y="3918"/>
                    <a:pt x="5829" y="3935"/>
                  </a:cubicBezTo>
                  <a:lnTo>
                    <a:pt x="5427" y="4337"/>
                  </a:lnTo>
                  <a:cubicBezTo>
                    <a:pt x="5411" y="4353"/>
                    <a:pt x="5416" y="4366"/>
                    <a:pt x="5439" y="4366"/>
                  </a:cubicBezTo>
                  <a:lnTo>
                    <a:pt x="5656" y="4366"/>
                  </a:lnTo>
                  <a:cubicBezTo>
                    <a:pt x="5679" y="4366"/>
                    <a:pt x="5711" y="4353"/>
                    <a:pt x="5727" y="4337"/>
                  </a:cubicBezTo>
                  <a:lnTo>
                    <a:pt x="6047" y="4017"/>
                  </a:lnTo>
                  <a:cubicBezTo>
                    <a:pt x="6063" y="4001"/>
                    <a:pt x="6076" y="3969"/>
                    <a:pt x="6076" y="3946"/>
                  </a:cubicBezTo>
                  <a:lnTo>
                    <a:pt x="6076" y="3296"/>
                  </a:lnTo>
                  <a:cubicBezTo>
                    <a:pt x="6076" y="3273"/>
                    <a:pt x="6095" y="3254"/>
                    <a:pt x="6118" y="3254"/>
                  </a:cubicBezTo>
                  <a:lnTo>
                    <a:pt x="6251" y="3254"/>
                  </a:lnTo>
                  <a:cubicBezTo>
                    <a:pt x="6273" y="3254"/>
                    <a:pt x="6305" y="3267"/>
                    <a:pt x="6321" y="3284"/>
                  </a:cubicBezTo>
                  <a:lnTo>
                    <a:pt x="6403" y="3365"/>
                  </a:lnTo>
                  <a:cubicBezTo>
                    <a:pt x="6419" y="3381"/>
                    <a:pt x="6450" y="3394"/>
                    <a:pt x="6473" y="3394"/>
                  </a:cubicBezTo>
                  <a:lnTo>
                    <a:pt x="6679" y="3394"/>
                  </a:lnTo>
                  <a:cubicBezTo>
                    <a:pt x="6701" y="3394"/>
                    <a:pt x="6707" y="3381"/>
                    <a:pt x="6691" y="3365"/>
                  </a:cubicBezTo>
                  <a:lnTo>
                    <a:pt x="6611" y="3285"/>
                  </a:lnTo>
                  <a:cubicBezTo>
                    <a:pt x="6594" y="3269"/>
                    <a:pt x="6581" y="3237"/>
                    <a:pt x="6581" y="3215"/>
                  </a:cubicBezTo>
                  <a:lnTo>
                    <a:pt x="6581" y="3025"/>
                  </a:lnTo>
                  <a:cubicBezTo>
                    <a:pt x="6581" y="3003"/>
                    <a:pt x="6600" y="2984"/>
                    <a:pt x="6623" y="2984"/>
                  </a:cubicBezTo>
                  <a:lnTo>
                    <a:pt x="6876" y="2984"/>
                  </a:lnTo>
                  <a:cubicBezTo>
                    <a:pt x="6899" y="2984"/>
                    <a:pt x="6918" y="2965"/>
                    <a:pt x="6918" y="2943"/>
                  </a:cubicBezTo>
                  <a:lnTo>
                    <a:pt x="6918" y="2549"/>
                  </a:lnTo>
                  <a:cubicBezTo>
                    <a:pt x="6918" y="2526"/>
                    <a:pt x="6936" y="2507"/>
                    <a:pt x="6959" y="2507"/>
                  </a:cubicBezTo>
                  <a:lnTo>
                    <a:pt x="7353" y="2507"/>
                  </a:lnTo>
                  <a:cubicBezTo>
                    <a:pt x="7376" y="2507"/>
                    <a:pt x="7408" y="2494"/>
                    <a:pt x="7424" y="2478"/>
                  </a:cubicBezTo>
                  <a:lnTo>
                    <a:pt x="7622" y="2280"/>
                  </a:lnTo>
                  <a:cubicBezTo>
                    <a:pt x="7638" y="2264"/>
                    <a:pt x="7669" y="2251"/>
                    <a:pt x="7692" y="2251"/>
                  </a:cubicBezTo>
                  <a:lnTo>
                    <a:pt x="8025" y="2251"/>
                  </a:lnTo>
                  <a:cubicBezTo>
                    <a:pt x="8047" y="2251"/>
                    <a:pt x="8079" y="2264"/>
                    <a:pt x="8095" y="2280"/>
                  </a:cubicBezTo>
                  <a:lnTo>
                    <a:pt x="8253" y="2438"/>
                  </a:lnTo>
                  <a:cubicBezTo>
                    <a:pt x="8269" y="2454"/>
                    <a:pt x="8269" y="2481"/>
                    <a:pt x="8253" y="2497"/>
                  </a:cubicBezTo>
                  <a:lnTo>
                    <a:pt x="8013" y="2736"/>
                  </a:lnTo>
                  <a:cubicBezTo>
                    <a:pt x="7997" y="2753"/>
                    <a:pt x="7984" y="2784"/>
                    <a:pt x="7984" y="2807"/>
                  </a:cubicBezTo>
                  <a:lnTo>
                    <a:pt x="7984" y="3106"/>
                  </a:lnTo>
                  <a:cubicBezTo>
                    <a:pt x="7984" y="3128"/>
                    <a:pt x="7997" y="3134"/>
                    <a:pt x="8013" y="3118"/>
                  </a:cubicBezTo>
                  <a:lnTo>
                    <a:pt x="8254" y="2877"/>
                  </a:lnTo>
                  <a:lnTo>
                    <a:pt x="8394" y="2737"/>
                  </a:lnTo>
                  <a:lnTo>
                    <a:pt x="8970" y="2737"/>
                  </a:lnTo>
                  <a:cubicBezTo>
                    <a:pt x="8992" y="2737"/>
                    <a:pt x="9011" y="2718"/>
                    <a:pt x="9011" y="2696"/>
                  </a:cubicBezTo>
                  <a:lnTo>
                    <a:pt x="9011" y="2499"/>
                  </a:lnTo>
                  <a:cubicBezTo>
                    <a:pt x="9011" y="2476"/>
                    <a:pt x="9030" y="2458"/>
                    <a:pt x="9052" y="2458"/>
                  </a:cubicBezTo>
                  <a:lnTo>
                    <a:pt x="9169" y="2458"/>
                  </a:lnTo>
                  <a:cubicBezTo>
                    <a:pt x="9192" y="2458"/>
                    <a:pt x="9224" y="2471"/>
                    <a:pt x="9240" y="2487"/>
                  </a:cubicBezTo>
                  <a:lnTo>
                    <a:pt x="9589" y="2837"/>
                  </a:lnTo>
                  <a:cubicBezTo>
                    <a:pt x="9605" y="2853"/>
                    <a:pt x="9619" y="2847"/>
                    <a:pt x="9619" y="2825"/>
                  </a:cubicBezTo>
                  <a:lnTo>
                    <a:pt x="9619" y="2668"/>
                  </a:lnTo>
                  <a:cubicBezTo>
                    <a:pt x="9619" y="2646"/>
                    <a:pt x="9631" y="2614"/>
                    <a:pt x="9648" y="2597"/>
                  </a:cubicBezTo>
                  <a:lnTo>
                    <a:pt x="9834" y="2412"/>
                  </a:lnTo>
                  <a:cubicBezTo>
                    <a:pt x="9850" y="2396"/>
                    <a:pt x="9863" y="2364"/>
                    <a:pt x="9863" y="2341"/>
                  </a:cubicBezTo>
                  <a:lnTo>
                    <a:pt x="9863" y="2022"/>
                  </a:lnTo>
                  <a:cubicBezTo>
                    <a:pt x="9863" y="1999"/>
                    <a:pt x="9882" y="1980"/>
                    <a:pt x="9905" y="1980"/>
                  </a:cubicBezTo>
                  <a:lnTo>
                    <a:pt x="10102" y="1980"/>
                  </a:lnTo>
                  <a:cubicBezTo>
                    <a:pt x="10124" y="1980"/>
                    <a:pt x="10156" y="1967"/>
                    <a:pt x="10172" y="1951"/>
                  </a:cubicBezTo>
                  <a:lnTo>
                    <a:pt x="10363" y="1761"/>
                  </a:lnTo>
                  <a:cubicBezTo>
                    <a:pt x="10379" y="1745"/>
                    <a:pt x="10405" y="1719"/>
                    <a:pt x="10421" y="1703"/>
                  </a:cubicBezTo>
                  <a:lnTo>
                    <a:pt x="10654" y="1469"/>
                  </a:lnTo>
                  <a:cubicBezTo>
                    <a:pt x="10670" y="1453"/>
                    <a:pt x="10702" y="1440"/>
                    <a:pt x="10725" y="1440"/>
                  </a:cubicBezTo>
                  <a:lnTo>
                    <a:pt x="11119" y="1440"/>
                  </a:lnTo>
                  <a:cubicBezTo>
                    <a:pt x="11142" y="1440"/>
                    <a:pt x="11174" y="1427"/>
                    <a:pt x="11190" y="1411"/>
                  </a:cubicBezTo>
                  <a:lnTo>
                    <a:pt x="11451" y="1150"/>
                  </a:lnTo>
                  <a:cubicBezTo>
                    <a:pt x="11467" y="1134"/>
                    <a:pt x="11467" y="1108"/>
                    <a:pt x="11451" y="1092"/>
                  </a:cubicBezTo>
                  <a:lnTo>
                    <a:pt x="11333" y="975"/>
                  </a:lnTo>
                  <a:cubicBezTo>
                    <a:pt x="11317" y="959"/>
                    <a:pt x="11317" y="932"/>
                    <a:pt x="11333" y="916"/>
                  </a:cubicBezTo>
                  <a:lnTo>
                    <a:pt x="12235" y="15"/>
                  </a:lnTo>
                  <a:cubicBezTo>
                    <a:pt x="12251" y="0"/>
                    <a:pt x="12277" y="0"/>
                    <a:pt x="12294" y="15"/>
                  </a:cubicBezTo>
                  <a:lnTo>
                    <a:pt x="12430" y="152"/>
                  </a:lnTo>
                  <a:cubicBezTo>
                    <a:pt x="12446" y="168"/>
                    <a:pt x="12459" y="199"/>
                    <a:pt x="12459" y="222"/>
                  </a:cubicBezTo>
                  <a:lnTo>
                    <a:pt x="12459" y="314"/>
                  </a:lnTo>
                  <a:cubicBezTo>
                    <a:pt x="12459" y="336"/>
                    <a:pt x="12446" y="368"/>
                    <a:pt x="12430" y="384"/>
                  </a:cubicBezTo>
                  <a:lnTo>
                    <a:pt x="12281" y="533"/>
                  </a:lnTo>
                  <a:cubicBezTo>
                    <a:pt x="12265" y="549"/>
                    <a:pt x="12252" y="581"/>
                    <a:pt x="12252" y="604"/>
                  </a:cubicBezTo>
                  <a:lnTo>
                    <a:pt x="12252" y="959"/>
                  </a:lnTo>
                  <a:cubicBezTo>
                    <a:pt x="12252" y="981"/>
                    <a:pt x="12266" y="988"/>
                    <a:pt x="12283" y="974"/>
                  </a:cubicBezTo>
                  <a:lnTo>
                    <a:pt x="12397" y="878"/>
                  </a:lnTo>
                  <a:cubicBezTo>
                    <a:pt x="12414" y="863"/>
                    <a:pt x="12446" y="851"/>
                    <a:pt x="12469" y="851"/>
                  </a:cubicBezTo>
                  <a:lnTo>
                    <a:pt x="12571" y="851"/>
                  </a:lnTo>
                  <a:cubicBezTo>
                    <a:pt x="12593" y="851"/>
                    <a:pt x="12625" y="864"/>
                    <a:pt x="12641" y="880"/>
                  </a:cubicBezTo>
                  <a:lnTo>
                    <a:pt x="12722" y="961"/>
                  </a:lnTo>
                  <a:cubicBezTo>
                    <a:pt x="12738" y="977"/>
                    <a:pt x="12751" y="1009"/>
                    <a:pt x="12751" y="1031"/>
                  </a:cubicBezTo>
                  <a:lnTo>
                    <a:pt x="12751" y="2092"/>
                  </a:lnTo>
                  <a:cubicBezTo>
                    <a:pt x="12751" y="2115"/>
                    <a:pt x="12764" y="2147"/>
                    <a:pt x="12780" y="2163"/>
                  </a:cubicBezTo>
                  <a:lnTo>
                    <a:pt x="13061" y="2443"/>
                  </a:lnTo>
                  <a:cubicBezTo>
                    <a:pt x="13077" y="2459"/>
                    <a:pt x="13103" y="2486"/>
                    <a:pt x="13119" y="2502"/>
                  </a:cubicBezTo>
                  <a:lnTo>
                    <a:pt x="13720" y="3102"/>
                  </a:lnTo>
                  <a:close/>
                </a:path>
              </a:pathLst>
            </a:custGeom>
            <a:solidFill>
              <a:srgbClr val="D2D2D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9">
              <a:extLst>
                <a:ext uri="{FF2B5EF4-FFF2-40B4-BE49-F238E27FC236}">
                  <a16:creationId xmlns="" xmlns:a16="http://schemas.microsoft.com/office/drawing/2014/main" id="{859D278E-5AD6-4D39-A8C4-6EE7761E04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3851" y="4156075"/>
              <a:ext cx="227013" cy="749300"/>
            </a:xfrm>
            <a:custGeom>
              <a:avLst/>
              <a:gdLst>
                <a:gd name="T0" fmla="*/ 400 w 400"/>
                <a:gd name="T1" fmla="*/ 1326 h 1326"/>
                <a:gd name="T2" fmla="*/ 400 w 400"/>
                <a:gd name="T3" fmla="*/ 1326 h 1326"/>
                <a:gd name="T4" fmla="*/ 400 w 400"/>
                <a:gd name="T5" fmla="*/ 1090 h 1326"/>
                <a:gd name="T6" fmla="*/ 368 w 400"/>
                <a:gd name="T7" fmla="*/ 1012 h 1326"/>
                <a:gd name="T8" fmla="*/ 32 w 400"/>
                <a:gd name="T9" fmla="*/ 677 h 1326"/>
                <a:gd name="T10" fmla="*/ 0 w 400"/>
                <a:gd name="T11" fmla="*/ 598 h 1326"/>
                <a:gd name="T12" fmla="*/ 0 w 400"/>
                <a:gd name="T13" fmla="*/ 172 h 1326"/>
                <a:gd name="T14" fmla="*/ 14 w 400"/>
                <a:gd name="T15" fmla="*/ 117 h 1326"/>
                <a:gd name="T16" fmla="*/ 80 w 400"/>
                <a:gd name="T17" fmla="*/ 0 h 1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0" h="1326">
                  <a:moveTo>
                    <a:pt x="400" y="1326"/>
                  </a:moveTo>
                  <a:lnTo>
                    <a:pt x="400" y="1326"/>
                  </a:lnTo>
                  <a:lnTo>
                    <a:pt x="400" y="1090"/>
                  </a:lnTo>
                  <a:cubicBezTo>
                    <a:pt x="400" y="1061"/>
                    <a:pt x="388" y="1032"/>
                    <a:pt x="368" y="1012"/>
                  </a:cubicBezTo>
                  <a:lnTo>
                    <a:pt x="32" y="677"/>
                  </a:lnTo>
                  <a:cubicBezTo>
                    <a:pt x="12" y="656"/>
                    <a:pt x="0" y="628"/>
                    <a:pt x="0" y="598"/>
                  </a:cubicBezTo>
                  <a:lnTo>
                    <a:pt x="0" y="172"/>
                  </a:lnTo>
                  <a:cubicBezTo>
                    <a:pt x="0" y="152"/>
                    <a:pt x="5" y="134"/>
                    <a:pt x="14" y="117"/>
                  </a:cubicBezTo>
                  <a:lnTo>
                    <a:pt x="80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10">
              <a:extLst>
                <a:ext uri="{FF2B5EF4-FFF2-40B4-BE49-F238E27FC236}">
                  <a16:creationId xmlns="" xmlns:a16="http://schemas.microsoft.com/office/drawing/2014/main" id="{C90145D9-1211-493E-A2C1-D73D4EA77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4151" y="4746625"/>
              <a:ext cx="0" cy="268288"/>
            </a:xfrm>
            <a:custGeom>
              <a:avLst/>
              <a:gdLst>
                <a:gd name="T0" fmla="*/ 476 h 476"/>
                <a:gd name="T1" fmla="*/ 476 h 476"/>
                <a:gd name="T2" fmla="*/ 0 h 47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76">
                  <a:moveTo>
                    <a:pt x="0" y="476"/>
                  </a:moveTo>
                  <a:lnTo>
                    <a:pt x="0" y="476"/>
                  </a:lnTo>
                  <a:lnTo>
                    <a:pt x="0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Freeform 11">
              <a:extLst>
                <a:ext uri="{FF2B5EF4-FFF2-40B4-BE49-F238E27FC236}">
                  <a16:creationId xmlns="" xmlns:a16="http://schemas.microsoft.com/office/drawing/2014/main" id="{8072A461-DBEA-4EE4-8D7E-B89D58FA4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7763" y="4746625"/>
              <a:ext cx="0" cy="400050"/>
            </a:xfrm>
            <a:custGeom>
              <a:avLst/>
              <a:gdLst>
                <a:gd name="T0" fmla="*/ 709 h 709"/>
                <a:gd name="T1" fmla="*/ 709 h 709"/>
                <a:gd name="T2" fmla="*/ 0 h 70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709">
                  <a:moveTo>
                    <a:pt x="0" y="709"/>
                  </a:moveTo>
                  <a:lnTo>
                    <a:pt x="0" y="709"/>
                  </a:lnTo>
                  <a:lnTo>
                    <a:pt x="0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12">
              <a:extLst>
                <a:ext uri="{FF2B5EF4-FFF2-40B4-BE49-F238E27FC236}">
                  <a16:creationId xmlns="" xmlns:a16="http://schemas.microsoft.com/office/drawing/2014/main" id="{95CD37E2-4DE9-40C8-A6DD-43106FE7C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151" y="4746625"/>
              <a:ext cx="2805113" cy="503238"/>
            </a:xfrm>
            <a:custGeom>
              <a:avLst/>
              <a:gdLst>
                <a:gd name="T0" fmla="*/ 4975 w 4975"/>
                <a:gd name="T1" fmla="*/ 241 h 894"/>
                <a:gd name="T2" fmla="*/ 4975 w 4975"/>
                <a:gd name="T3" fmla="*/ 241 h 894"/>
                <a:gd name="T4" fmla="*/ 4797 w 4975"/>
                <a:gd name="T5" fmla="*/ 62 h 894"/>
                <a:gd name="T6" fmla="*/ 4647 w 4975"/>
                <a:gd name="T7" fmla="*/ 0 h 894"/>
                <a:gd name="T8" fmla="*/ 1647 w 4975"/>
                <a:gd name="T9" fmla="*/ 0 h 894"/>
                <a:gd name="T10" fmla="*/ 1565 w 4975"/>
                <a:gd name="T11" fmla="*/ 34 h 894"/>
                <a:gd name="T12" fmla="*/ 948 w 4975"/>
                <a:gd name="T13" fmla="*/ 651 h 894"/>
                <a:gd name="T14" fmla="*/ 866 w 4975"/>
                <a:gd name="T15" fmla="*/ 685 h 894"/>
                <a:gd name="T16" fmla="*/ 0 w 4975"/>
                <a:gd name="T17" fmla="*/ 894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75" h="894">
                  <a:moveTo>
                    <a:pt x="4975" y="241"/>
                  </a:moveTo>
                  <a:lnTo>
                    <a:pt x="4975" y="241"/>
                  </a:lnTo>
                  <a:lnTo>
                    <a:pt x="4797" y="62"/>
                  </a:lnTo>
                  <a:cubicBezTo>
                    <a:pt x="4757" y="23"/>
                    <a:pt x="4703" y="0"/>
                    <a:pt x="4647" y="0"/>
                  </a:cubicBezTo>
                  <a:lnTo>
                    <a:pt x="1647" y="0"/>
                  </a:lnTo>
                  <a:cubicBezTo>
                    <a:pt x="1616" y="0"/>
                    <a:pt x="1587" y="12"/>
                    <a:pt x="1565" y="34"/>
                  </a:cubicBezTo>
                  <a:lnTo>
                    <a:pt x="948" y="651"/>
                  </a:lnTo>
                  <a:cubicBezTo>
                    <a:pt x="926" y="673"/>
                    <a:pt x="897" y="685"/>
                    <a:pt x="866" y="685"/>
                  </a:cubicBezTo>
                  <a:lnTo>
                    <a:pt x="0" y="894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Freeform 13">
              <a:extLst>
                <a:ext uri="{FF2B5EF4-FFF2-40B4-BE49-F238E27FC236}">
                  <a16:creationId xmlns="" xmlns:a16="http://schemas.microsoft.com/office/drawing/2014/main" id="{18E805CC-BD8D-4DB8-8D38-202E2D2B31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5776" y="3482975"/>
              <a:ext cx="6237288" cy="2151063"/>
            </a:xfrm>
            <a:custGeom>
              <a:avLst/>
              <a:gdLst>
                <a:gd name="T0" fmla="*/ 1385 w 11061"/>
                <a:gd name="T1" fmla="*/ 0 h 3810"/>
                <a:gd name="T2" fmla="*/ 1385 w 11061"/>
                <a:gd name="T3" fmla="*/ 0 h 3810"/>
                <a:gd name="T4" fmla="*/ 1241 w 11061"/>
                <a:gd name="T5" fmla="*/ 151 h 3810"/>
                <a:gd name="T6" fmla="*/ 0 w 11061"/>
                <a:gd name="T7" fmla="*/ 1133 h 3810"/>
                <a:gd name="T8" fmla="*/ 696 w 11061"/>
                <a:gd name="T9" fmla="*/ 1837 h 3810"/>
                <a:gd name="T10" fmla="*/ 778 w 11061"/>
                <a:gd name="T11" fmla="*/ 1870 h 3810"/>
                <a:gd name="T12" fmla="*/ 2187 w 11061"/>
                <a:gd name="T13" fmla="*/ 2386 h 3810"/>
                <a:gd name="T14" fmla="*/ 2269 w 11061"/>
                <a:gd name="T15" fmla="*/ 2419 h 3810"/>
                <a:gd name="T16" fmla="*/ 3421 w 11061"/>
                <a:gd name="T17" fmla="*/ 3180 h 3810"/>
                <a:gd name="T18" fmla="*/ 3503 w 11061"/>
                <a:gd name="T19" fmla="*/ 3214 h 3810"/>
                <a:gd name="T20" fmla="*/ 4546 w 11061"/>
                <a:gd name="T21" fmla="*/ 3423 h 3810"/>
                <a:gd name="T22" fmla="*/ 4627 w 11061"/>
                <a:gd name="T23" fmla="*/ 3389 h 3810"/>
                <a:gd name="T24" fmla="*/ 4852 w 11061"/>
                <a:gd name="T25" fmla="*/ 3165 h 3810"/>
                <a:gd name="T26" fmla="*/ 4933 w 11061"/>
                <a:gd name="T27" fmla="*/ 3131 h 3810"/>
                <a:gd name="T28" fmla="*/ 6221 w 11061"/>
                <a:gd name="T29" fmla="*/ 3131 h 3810"/>
                <a:gd name="T30" fmla="*/ 6836 w 11061"/>
                <a:gd name="T31" fmla="*/ 3588 h 3810"/>
                <a:gd name="T32" fmla="*/ 6836 w 11061"/>
                <a:gd name="T33" fmla="*/ 3688 h 3810"/>
                <a:gd name="T34" fmla="*/ 6797 w 11061"/>
                <a:gd name="T35" fmla="*/ 3727 h 3810"/>
                <a:gd name="T36" fmla="*/ 6832 w 11061"/>
                <a:gd name="T37" fmla="*/ 3810 h 3810"/>
                <a:gd name="T38" fmla="*/ 7022 w 11061"/>
                <a:gd name="T39" fmla="*/ 3810 h 3810"/>
                <a:gd name="T40" fmla="*/ 7104 w 11061"/>
                <a:gd name="T41" fmla="*/ 3776 h 3810"/>
                <a:gd name="T42" fmla="*/ 7262 w 11061"/>
                <a:gd name="T43" fmla="*/ 3618 h 3810"/>
                <a:gd name="T44" fmla="*/ 7344 w 11061"/>
                <a:gd name="T45" fmla="*/ 3584 h 3810"/>
                <a:gd name="T46" fmla="*/ 7726 w 11061"/>
                <a:gd name="T47" fmla="*/ 3584 h 3810"/>
                <a:gd name="T48" fmla="*/ 7808 w 11061"/>
                <a:gd name="T49" fmla="*/ 3550 h 3810"/>
                <a:gd name="T50" fmla="*/ 8755 w 11061"/>
                <a:gd name="T51" fmla="*/ 2603 h 3810"/>
                <a:gd name="T52" fmla="*/ 8960 w 11061"/>
                <a:gd name="T53" fmla="*/ 2519 h 3810"/>
                <a:gd name="T54" fmla="*/ 9310 w 11061"/>
                <a:gd name="T55" fmla="*/ 2519 h 3810"/>
                <a:gd name="T56" fmla="*/ 9515 w 11061"/>
                <a:gd name="T57" fmla="*/ 2603 h 3810"/>
                <a:gd name="T58" fmla="*/ 9824 w 11061"/>
                <a:gd name="T59" fmla="*/ 2913 h 3810"/>
                <a:gd name="T60" fmla="*/ 9906 w 11061"/>
                <a:gd name="T61" fmla="*/ 2947 h 3810"/>
                <a:gd name="T62" fmla="*/ 10197 w 11061"/>
                <a:gd name="T63" fmla="*/ 2947 h 3810"/>
                <a:gd name="T64" fmla="*/ 10279 w 11061"/>
                <a:gd name="T65" fmla="*/ 2913 h 3810"/>
                <a:gd name="T66" fmla="*/ 10444 w 11061"/>
                <a:gd name="T67" fmla="*/ 2747 h 3810"/>
                <a:gd name="T68" fmla="*/ 10526 w 11061"/>
                <a:gd name="T69" fmla="*/ 2713 h 3810"/>
                <a:gd name="T70" fmla="*/ 10779 w 11061"/>
                <a:gd name="T71" fmla="*/ 2713 h 3810"/>
                <a:gd name="T72" fmla="*/ 10861 w 11061"/>
                <a:gd name="T73" fmla="*/ 2747 h 3810"/>
                <a:gd name="T74" fmla="*/ 11027 w 11061"/>
                <a:gd name="T75" fmla="*/ 2913 h 3810"/>
                <a:gd name="T76" fmla="*/ 11061 w 11061"/>
                <a:gd name="T77" fmla="*/ 2995 h 3810"/>
                <a:gd name="T78" fmla="*/ 11061 w 11061"/>
                <a:gd name="T79" fmla="*/ 3424 h 3810"/>
                <a:gd name="T80" fmla="*/ 11061 w 11061"/>
                <a:gd name="T81" fmla="*/ 3728 h 3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061" h="3810">
                  <a:moveTo>
                    <a:pt x="1385" y="0"/>
                  </a:moveTo>
                  <a:lnTo>
                    <a:pt x="1385" y="0"/>
                  </a:lnTo>
                  <a:lnTo>
                    <a:pt x="1241" y="151"/>
                  </a:lnTo>
                  <a:lnTo>
                    <a:pt x="0" y="1133"/>
                  </a:lnTo>
                  <a:lnTo>
                    <a:pt x="696" y="1837"/>
                  </a:lnTo>
                  <a:cubicBezTo>
                    <a:pt x="718" y="1858"/>
                    <a:pt x="747" y="1870"/>
                    <a:pt x="778" y="1870"/>
                  </a:cubicBezTo>
                  <a:lnTo>
                    <a:pt x="2187" y="2386"/>
                  </a:lnTo>
                  <a:cubicBezTo>
                    <a:pt x="2218" y="2386"/>
                    <a:pt x="2247" y="2398"/>
                    <a:pt x="2269" y="2419"/>
                  </a:cubicBezTo>
                  <a:lnTo>
                    <a:pt x="3421" y="3180"/>
                  </a:lnTo>
                  <a:cubicBezTo>
                    <a:pt x="3443" y="3202"/>
                    <a:pt x="3472" y="3214"/>
                    <a:pt x="3503" y="3214"/>
                  </a:cubicBezTo>
                  <a:lnTo>
                    <a:pt x="4546" y="3423"/>
                  </a:lnTo>
                  <a:cubicBezTo>
                    <a:pt x="4576" y="3423"/>
                    <a:pt x="4606" y="3411"/>
                    <a:pt x="4627" y="3389"/>
                  </a:cubicBezTo>
                  <a:lnTo>
                    <a:pt x="4852" y="3165"/>
                  </a:lnTo>
                  <a:cubicBezTo>
                    <a:pt x="4873" y="3143"/>
                    <a:pt x="4903" y="3131"/>
                    <a:pt x="4933" y="3131"/>
                  </a:cubicBezTo>
                  <a:lnTo>
                    <a:pt x="6221" y="3131"/>
                  </a:lnTo>
                  <a:lnTo>
                    <a:pt x="6836" y="3588"/>
                  </a:lnTo>
                  <a:cubicBezTo>
                    <a:pt x="6864" y="3615"/>
                    <a:pt x="6864" y="3660"/>
                    <a:pt x="6836" y="3688"/>
                  </a:cubicBezTo>
                  <a:lnTo>
                    <a:pt x="6797" y="3727"/>
                  </a:lnTo>
                  <a:cubicBezTo>
                    <a:pt x="6767" y="3757"/>
                    <a:pt x="6789" y="3809"/>
                    <a:pt x="6832" y="3810"/>
                  </a:cubicBezTo>
                  <a:lnTo>
                    <a:pt x="7022" y="3810"/>
                  </a:lnTo>
                  <a:cubicBezTo>
                    <a:pt x="7053" y="3810"/>
                    <a:pt x="7083" y="3798"/>
                    <a:pt x="7104" y="3776"/>
                  </a:cubicBezTo>
                  <a:lnTo>
                    <a:pt x="7262" y="3618"/>
                  </a:lnTo>
                  <a:cubicBezTo>
                    <a:pt x="7284" y="3597"/>
                    <a:pt x="7313" y="3584"/>
                    <a:pt x="7344" y="3584"/>
                  </a:cubicBezTo>
                  <a:lnTo>
                    <a:pt x="7726" y="3584"/>
                  </a:lnTo>
                  <a:cubicBezTo>
                    <a:pt x="7757" y="3584"/>
                    <a:pt x="7786" y="3572"/>
                    <a:pt x="7808" y="3550"/>
                  </a:cubicBezTo>
                  <a:lnTo>
                    <a:pt x="8755" y="2603"/>
                  </a:lnTo>
                  <a:cubicBezTo>
                    <a:pt x="8806" y="2552"/>
                    <a:pt x="8887" y="2519"/>
                    <a:pt x="8960" y="2519"/>
                  </a:cubicBezTo>
                  <a:lnTo>
                    <a:pt x="9310" y="2519"/>
                  </a:lnTo>
                  <a:cubicBezTo>
                    <a:pt x="9383" y="2519"/>
                    <a:pt x="9463" y="2552"/>
                    <a:pt x="9515" y="2603"/>
                  </a:cubicBezTo>
                  <a:lnTo>
                    <a:pt x="9824" y="2913"/>
                  </a:lnTo>
                  <a:cubicBezTo>
                    <a:pt x="9846" y="2935"/>
                    <a:pt x="9875" y="2947"/>
                    <a:pt x="9906" y="2947"/>
                  </a:cubicBezTo>
                  <a:lnTo>
                    <a:pt x="10197" y="2947"/>
                  </a:lnTo>
                  <a:cubicBezTo>
                    <a:pt x="10228" y="2947"/>
                    <a:pt x="10257" y="2935"/>
                    <a:pt x="10279" y="2913"/>
                  </a:cubicBezTo>
                  <a:lnTo>
                    <a:pt x="10444" y="2747"/>
                  </a:lnTo>
                  <a:cubicBezTo>
                    <a:pt x="10466" y="2725"/>
                    <a:pt x="10496" y="2713"/>
                    <a:pt x="10526" y="2713"/>
                  </a:cubicBezTo>
                  <a:lnTo>
                    <a:pt x="10779" y="2713"/>
                  </a:lnTo>
                  <a:cubicBezTo>
                    <a:pt x="10810" y="2713"/>
                    <a:pt x="10839" y="2725"/>
                    <a:pt x="10861" y="2747"/>
                  </a:cubicBezTo>
                  <a:lnTo>
                    <a:pt x="11027" y="2913"/>
                  </a:lnTo>
                  <a:cubicBezTo>
                    <a:pt x="11049" y="2935"/>
                    <a:pt x="11061" y="2964"/>
                    <a:pt x="11061" y="2995"/>
                  </a:cubicBezTo>
                  <a:lnTo>
                    <a:pt x="11061" y="3424"/>
                  </a:lnTo>
                  <a:lnTo>
                    <a:pt x="11061" y="3728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Freeform 14">
              <a:extLst>
                <a:ext uri="{FF2B5EF4-FFF2-40B4-BE49-F238E27FC236}">
                  <a16:creationId xmlns="" xmlns:a16="http://schemas.microsoft.com/office/drawing/2014/main" id="{1FE9ADA1-E2EB-4841-A46C-D261103C9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3213" y="5588000"/>
              <a:ext cx="196850" cy="111125"/>
            </a:xfrm>
            <a:custGeom>
              <a:avLst/>
              <a:gdLst>
                <a:gd name="T0" fmla="*/ 350 w 350"/>
                <a:gd name="T1" fmla="*/ 2 h 197"/>
                <a:gd name="T2" fmla="*/ 350 w 350"/>
                <a:gd name="T3" fmla="*/ 2 h 197"/>
                <a:gd name="T4" fmla="*/ 126 w 350"/>
                <a:gd name="T5" fmla="*/ 0 h 197"/>
                <a:gd name="T6" fmla="*/ 0 w 350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0" h="197">
                  <a:moveTo>
                    <a:pt x="350" y="2"/>
                  </a:moveTo>
                  <a:lnTo>
                    <a:pt x="350" y="2"/>
                  </a:lnTo>
                  <a:lnTo>
                    <a:pt x="126" y="0"/>
                  </a:lnTo>
                  <a:lnTo>
                    <a:pt x="0" y="197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15">
              <a:extLst>
                <a:ext uri="{FF2B5EF4-FFF2-40B4-BE49-F238E27FC236}">
                  <a16:creationId xmlns="" xmlns:a16="http://schemas.microsoft.com/office/drawing/2014/main" id="{9365F442-C815-41B0-A3B3-37CB14325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9113" y="4438650"/>
              <a:ext cx="260350" cy="527050"/>
            </a:xfrm>
            <a:custGeom>
              <a:avLst/>
              <a:gdLst>
                <a:gd name="T0" fmla="*/ 0 w 464"/>
                <a:gd name="T1" fmla="*/ 0 h 934"/>
                <a:gd name="T2" fmla="*/ 0 w 464"/>
                <a:gd name="T3" fmla="*/ 0 h 934"/>
                <a:gd name="T4" fmla="*/ 102 w 464"/>
                <a:gd name="T5" fmla="*/ 273 h 934"/>
                <a:gd name="T6" fmla="*/ 109 w 464"/>
                <a:gd name="T7" fmla="*/ 315 h 934"/>
                <a:gd name="T8" fmla="*/ 109 w 464"/>
                <a:gd name="T9" fmla="*/ 401 h 934"/>
                <a:gd name="T10" fmla="*/ 147 w 464"/>
                <a:gd name="T11" fmla="*/ 488 h 934"/>
                <a:gd name="T12" fmla="*/ 366 w 464"/>
                <a:gd name="T13" fmla="*/ 694 h 934"/>
                <a:gd name="T14" fmla="*/ 424 w 464"/>
                <a:gd name="T15" fmla="*/ 746 h 934"/>
                <a:gd name="T16" fmla="*/ 464 w 464"/>
                <a:gd name="T17" fmla="*/ 835 h 934"/>
                <a:gd name="T18" fmla="*/ 464 w 464"/>
                <a:gd name="T19" fmla="*/ 934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4" h="934">
                  <a:moveTo>
                    <a:pt x="0" y="0"/>
                  </a:moveTo>
                  <a:lnTo>
                    <a:pt x="0" y="0"/>
                  </a:lnTo>
                  <a:lnTo>
                    <a:pt x="102" y="273"/>
                  </a:lnTo>
                  <a:cubicBezTo>
                    <a:pt x="107" y="286"/>
                    <a:pt x="109" y="300"/>
                    <a:pt x="109" y="315"/>
                  </a:cubicBezTo>
                  <a:lnTo>
                    <a:pt x="109" y="401"/>
                  </a:lnTo>
                  <a:cubicBezTo>
                    <a:pt x="109" y="434"/>
                    <a:pt x="123" y="466"/>
                    <a:pt x="147" y="488"/>
                  </a:cubicBezTo>
                  <a:lnTo>
                    <a:pt x="366" y="694"/>
                  </a:lnTo>
                  <a:lnTo>
                    <a:pt x="424" y="746"/>
                  </a:lnTo>
                  <a:cubicBezTo>
                    <a:pt x="450" y="769"/>
                    <a:pt x="464" y="801"/>
                    <a:pt x="464" y="835"/>
                  </a:cubicBezTo>
                  <a:lnTo>
                    <a:pt x="464" y="934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16">
              <a:extLst>
                <a:ext uri="{FF2B5EF4-FFF2-40B4-BE49-F238E27FC236}">
                  <a16:creationId xmlns="" xmlns:a16="http://schemas.microsoft.com/office/drawing/2014/main" id="{84A5E04A-CA6C-4DF3-B381-5B30520CC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9126" y="4746625"/>
              <a:ext cx="39688" cy="288925"/>
            </a:xfrm>
            <a:custGeom>
              <a:avLst/>
              <a:gdLst>
                <a:gd name="T0" fmla="*/ 0 w 70"/>
                <a:gd name="T1" fmla="*/ 512 h 512"/>
                <a:gd name="T2" fmla="*/ 0 w 70"/>
                <a:gd name="T3" fmla="*/ 512 h 512"/>
                <a:gd name="T4" fmla="*/ 54 w 70"/>
                <a:gd name="T5" fmla="*/ 395 h 512"/>
                <a:gd name="T6" fmla="*/ 67 w 70"/>
                <a:gd name="T7" fmla="*/ 311 h 512"/>
                <a:gd name="T8" fmla="*/ 28 w 70"/>
                <a:gd name="T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512">
                  <a:moveTo>
                    <a:pt x="0" y="512"/>
                  </a:moveTo>
                  <a:lnTo>
                    <a:pt x="0" y="512"/>
                  </a:lnTo>
                  <a:lnTo>
                    <a:pt x="54" y="395"/>
                  </a:lnTo>
                  <a:cubicBezTo>
                    <a:pt x="66" y="369"/>
                    <a:pt x="70" y="339"/>
                    <a:pt x="67" y="311"/>
                  </a:cubicBezTo>
                  <a:lnTo>
                    <a:pt x="28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" name="Freeform 17">
              <a:extLst>
                <a:ext uri="{FF2B5EF4-FFF2-40B4-BE49-F238E27FC236}">
                  <a16:creationId xmlns="" xmlns:a16="http://schemas.microsoft.com/office/drawing/2014/main" id="{02D462D0-F501-460C-830A-7FF8741C2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7601" y="5449888"/>
              <a:ext cx="506413" cy="128588"/>
            </a:xfrm>
            <a:custGeom>
              <a:avLst/>
              <a:gdLst>
                <a:gd name="T0" fmla="*/ 0 w 899"/>
                <a:gd name="T1" fmla="*/ 0 h 228"/>
                <a:gd name="T2" fmla="*/ 0 w 899"/>
                <a:gd name="T3" fmla="*/ 0 h 228"/>
                <a:gd name="T4" fmla="*/ 246 w 899"/>
                <a:gd name="T5" fmla="*/ 170 h 228"/>
                <a:gd name="T6" fmla="*/ 255 w 899"/>
                <a:gd name="T7" fmla="*/ 177 h 228"/>
                <a:gd name="T8" fmla="*/ 277 w 899"/>
                <a:gd name="T9" fmla="*/ 196 h 228"/>
                <a:gd name="T10" fmla="*/ 380 w 899"/>
                <a:gd name="T11" fmla="*/ 215 h 228"/>
                <a:gd name="T12" fmla="*/ 505 w 899"/>
                <a:gd name="T13" fmla="*/ 168 h 228"/>
                <a:gd name="T14" fmla="*/ 541 w 899"/>
                <a:gd name="T15" fmla="*/ 161 h 228"/>
                <a:gd name="T16" fmla="*/ 899 w 899"/>
                <a:gd name="T17" fmla="*/ 16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9" h="228">
                  <a:moveTo>
                    <a:pt x="0" y="0"/>
                  </a:moveTo>
                  <a:lnTo>
                    <a:pt x="0" y="0"/>
                  </a:lnTo>
                  <a:lnTo>
                    <a:pt x="246" y="170"/>
                  </a:lnTo>
                  <a:cubicBezTo>
                    <a:pt x="249" y="172"/>
                    <a:pt x="252" y="174"/>
                    <a:pt x="255" y="177"/>
                  </a:cubicBezTo>
                  <a:lnTo>
                    <a:pt x="277" y="196"/>
                  </a:lnTo>
                  <a:cubicBezTo>
                    <a:pt x="305" y="221"/>
                    <a:pt x="345" y="228"/>
                    <a:pt x="380" y="215"/>
                  </a:cubicBezTo>
                  <a:lnTo>
                    <a:pt x="505" y="168"/>
                  </a:lnTo>
                  <a:cubicBezTo>
                    <a:pt x="516" y="164"/>
                    <a:pt x="529" y="161"/>
                    <a:pt x="541" y="161"/>
                  </a:cubicBezTo>
                  <a:lnTo>
                    <a:pt x="899" y="161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18">
              <a:extLst>
                <a:ext uri="{FF2B5EF4-FFF2-40B4-BE49-F238E27FC236}">
                  <a16:creationId xmlns="" xmlns:a16="http://schemas.microsoft.com/office/drawing/2014/main" id="{F2F1CD6D-8F04-414B-AF62-B46E0BCDCB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7451" y="5573713"/>
              <a:ext cx="204788" cy="134938"/>
            </a:xfrm>
            <a:custGeom>
              <a:avLst/>
              <a:gdLst>
                <a:gd name="T0" fmla="*/ 361 w 361"/>
                <a:gd name="T1" fmla="*/ 171 h 239"/>
                <a:gd name="T2" fmla="*/ 361 w 361"/>
                <a:gd name="T3" fmla="*/ 171 h 239"/>
                <a:gd name="T4" fmla="*/ 301 w 361"/>
                <a:gd name="T5" fmla="*/ 51 h 239"/>
                <a:gd name="T6" fmla="*/ 266 w 361"/>
                <a:gd name="T7" fmla="*/ 22 h 239"/>
                <a:gd name="T8" fmla="*/ 205 w 361"/>
                <a:gd name="T9" fmla="*/ 3 h 239"/>
                <a:gd name="T10" fmla="*/ 188 w 361"/>
                <a:gd name="T11" fmla="*/ 0 h 239"/>
                <a:gd name="T12" fmla="*/ 124 w 361"/>
                <a:gd name="T13" fmla="*/ 0 h 239"/>
                <a:gd name="T14" fmla="*/ 70 w 361"/>
                <a:gd name="T15" fmla="*/ 39 h 239"/>
                <a:gd name="T16" fmla="*/ 0 w 361"/>
                <a:gd name="T17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1" h="239">
                  <a:moveTo>
                    <a:pt x="361" y="171"/>
                  </a:moveTo>
                  <a:lnTo>
                    <a:pt x="361" y="171"/>
                  </a:lnTo>
                  <a:lnTo>
                    <a:pt x="301" y="51"/>
                  </a:lnTo>
                  <a:cubicBezTo>
                    <a:pt x="294" y="37"/>
                    <a:pt x="281" y="26"/>
                    <a:pt x="266" y="22"/>
                  </a:cubicBezTo>
                  <a:lnTo>
                    <a:pt x="205" y="3"/>
                  </a:lnTo>
                  <a:cubicBezTo>
                    <a:pt x="199" y="1"/>
                    <a:pt x="194" y="0"/>
                    <a:pt x="188" y="0"/>
                  </a:cubicBezTo>
                  <a:lnTo>
                    <a:pt x="124" y="0"/>
                  </a:lnTo>
                  <a:cubicBezTo>
                    <a:pt x="100" y="0"/>
                    <a:pt x="78" y="16"/>
                    <a:pt x="70" y="39"/>
                  </a:cubicBezTo>
                  <a:lnTo>
                    <a:pt x="0" y="239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19">
              <a:extLst>
                <a:ext uri="{FF2B5EF4-FFF2-40B4-BE49-F238E27FC236}">
                  <a16:creationId xmlns="" xmlns:a16="http://schemas.microsoft.com/office/drawing/2014/main" id="{B467C57E-4511-46AC-8657-9972B3F57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1363" y="5505450"/>
              <a:ext cx="106363" cy="322263"/>
            </a:xfrm>
            <a:custGeom>
              <a:avLst/>
              <a:gdLst>
                <a:gd name="T0" fmla="*/ 189 w 189"/>
                <a:gd name="T1" fmla="*/ 0 h 569"/>
                <a:gd name="T2" fmla="*/ 189 w 189"/>
                <a:gd name="T3" fmla="*/ 0 h 569"/>
                <a:gd name="T4" fmla="*/ 188 w 189"/>
                <a:gd name="T5" fmla="*/ 173 h 569"/>
                <a:gd name="T6" fmla="*/ 117 w 189"/>
                <a:gd name="T7" fmla="*/ 266 h 569"/>
                <a:gd name="T8" fmla="*/ 71 w 189"/>
                <a:gd name="T9" fmla="*/ 280 h 569"/>
                <a:gd name="T10" fmla="*/ 0 w 189"/>
                <a:gd name="T11" fmla="*/ 373 h 569"/>
                <a:gd name="T12" fmla="*/ 0 w 189"/>
                <a:gd name="T13" fmla="*/ 569 h 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569">
                  <a:moveTo>
                    <a:pt x="189" y="0"/>
                  </a:moveTo>
                  <a:lnTo>
                    <a:pt x="189" y="0"/>
                  </a:lnTo>
                  <a:lnTo>
                    <a:pt x="188" y="173"/>
                  </a:lnTo>
                  <a:cubicBezTo>
                    <a:pt x="188" y="217"/>
                    <a:pt x="159" y="255"/>
                    <a:pt x="117" y="266"/>
                  </a:cubicBezTo>
                  <a:lnTo>
                    <a:pt x="71" y="280"/>
                  </a:lnTo>
                  <a:cubicBezTo>
                    <a:pt x="29" y="292"/>
                    <a:pt x="0" y="330"/>
                    <a:pt x="0" y="373"/>
                  </a:cubicBezTo>
                  <a:lnTo>
                    <a:pt x="0" y="569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20">
              <a:extLst>
                <a:ext uri="{FF2B5EF4-FFF2-40B4-BE49-F238E27FC236}">
                  <a16:creationId xmlns="" xmlns:a16="http://schemas.microsoft.com/office/drawing/2014/main" id="{2ADE8E53-84EC-44E1-814F-D33F5C4FE90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5540375"/>
              <a:ext cx="123825" cy="47625"/>
            </a:xfrm>
            <a:custGeom>
              <a:avLst/>
              <a:gdLst>
                <a:gd name="T0" fmla="*/ 0 w 220"/>
                <a:gd name="T1" fmla="*/ 0 h 84"/>
                <a:gd name="T2" fmla="*/ 0 w 220"/>
                <a:gd name="T3" fmla="*/ 0 h 84"/>
                <a:gd name="T4" fmla="*/ 220 w 220"/>
                <a:gd name="T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0" h="84">
                  <a:moveTo>
                    <a:pt x="0" y="0"/>
                  </a:moveTo>
                  <a:lnTo>
                    <a:pt x="0" y="0"/>
                  </a:lnTo>
                  <a:lnTo>
                    <a:pt x="220" y="84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21">
              <a:extLst>
                <a:ext uri="{FF2B5EF4-FFF2-40B4-BE49-F238E27FC236}">
                  <a16:creationId xmlns="" xmlns:a16="http://schemas.microsoft.com/office/drawing/2014/main" id="{EE485F29-2F77-45F5-BA22-68AD0F7EC3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8926" y="5416550"/>
              <a:ext cx="211138" cy="33338"/>
            </a:xfrm>
            <a:custGeom>
              <a:avLst/>
              <a:gdLst>
                <a:gd name="T0" fmla="*/ 0 w 375"/>
                <a:gd name="T1" fmla="*/ 0 h 57"/>
                <a:gd name="T2" fmla="*/ 0 w 375"/>
                <a:gd name="T3" fmla="*/ 0 h 57"/>
                <a:gd name="T4" fmla="*/ 36 w 375"/>
                <a:gd name="T5" fmla="*/ 31 h 57"/>
                <a:gd name="T6" fmla="*/ 104 w 375"/>
                <a:gd name="T7" fmla="*/ 57 h 57"/>
                <a:gd name="T8" fmla="*/ 270 w 375"/>
                <a:gd name="T9" fmla="*/ 57 h 57"/>
                <a:gd name="T10" fmla="*/ 302 w 375"/>
                <a:gd name="T11" fmla="*/ 52 h 57"/>
                <a:gd name="T12" fmla="*/ 375 w 375"/>
                <a:gd name="T13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5" h="57">
                  <a:moveTo>
                    <a:pt x="0" y="0"/>
                  </a:moveTo>
                  <a:lnTo>
                    <a:pt x="0" y="0"/>
                  </a:lnTo>
                  <a:lnTo>
                    <a:pt x="36" y="31"/>
                  </a:lnTo>
                  <a:cubicBezTo>
                    <a:pt x="54" y="48"/>
                    <a:pt x="79" y="57"/>
                    <a:pt x="104" y="57"/>
                  </a:cubicBezTo>
                  <a:lnTo>
                    <a:pt x="270" y="57"/>
                  </a:lnTo>
                  <a:cubicBezTo>
                    <a:pt x="281" y="57"/>
                    <a:pt x="292" y="55"/>
                    <a:pt x="302" y="52"/>
                  </a:cubicBezTo>
                  <a:lnTo>
                    <a:pt x="375" y="28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22">
              <a:extLst>
                <a:ext uri="{FF2B5EF4-FFF2-40B4-BE49-F238E27FC236}">
                  <a16:creationId xmlns="" xmlns:a16="http://schemas.microsoft.com/office/drawing/2014/main" id="{3A886252-662E-472D-9A2C-98ACC4892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014913"/>
              <a:ext cx="0" cy="87313"/>
            </a:xfrm>
            <a:custGeom>
              <a:avLst/>
              <a:gdLst>
                <a:gd name="T0" fmla="*/ 0 h 155"/>
                <a:gd name="T1" fmla="*/ 0 h 155"/>
                <a:gd name="T2" fmla="*/ 104 h 155"/>
                <a:gd name="T3" fmla="*/ 155 h 15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55">
                  <a:moveTo>
                    <a:pt x="0" y="0"/>
                  </a:moveTo>
                  <a:lnTo>
                    <a:pt x="0" y="0"/>
                  </a:lnTo>
                  <a:lnTo>
                    <a:pt x="0" y="104"/>
                  </a:lnTo>
                  <a:lnTo>
                    <a:pt x="0" y="155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23">
              <a:extLst>
                <a:ext uri="{FF2B5EF4-FFF2-40B4-BE49-F238E27FC236}">
                  <a16:creationId xmlns="" xmlns:a16="http://schemas.microsoft.com/office/drawing/2014/main" id="{E4F950CC-49CA-4C36-827A-853A297E50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9313" y="5049838"/>
              <a:ext cx="20638" cy="111125"/>
            </a:xfrm>
            <a:custGeom>
              <a:avLst/>
              <a:gdLst>
                <a:gd name="T0" fmla="*/ 34 w 34"/>
                <a:gd name="T1" fmla="*/ 0 h 197"/>
                <a:gd name="T2" fmla="*/ 34 w 34"/>
                <a:gd name="T3" fmla="*/ 0 h 197"/>
                <a:gd name="T4" fmla="*/ 5 w 34"/>
                <a:gd name="T5" fmla="*/ 93 h 197"/>
                <a:gd name="T6" fmla="*/ 0 w 34"/>
                <a:gd name="T7" fmla="*/ 131 h 197"/>
                <a:gd name="T8" fmla="*/ 0 w 34"/>
                <a:gd name="T9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7">
                  <a:moveTo>
                    <a:pt x="34" y="0"/>
                  </a:moveTo>
                  <a:lnTo>
                    <a:pt x="34" y="0"/>
                  </a:lnTo>
                  <a:lnTo>
                    <a:pt x="5" y="93"/>
                  </a:lnTo>
                  <a:cubicBezTo>
                    <a:pt x="2" y="105"/>
                    <a:pt x="0" y="118"/>
                    <a:pt x="0" y="131"/>
                  </a:cubicBezTo>
                  <a:lnTo>
                    <a:pt x="0" y="197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24">
              <a:extLst>
                <a:ext uri="{FF2B5EF4-FFF2-40B4-BE49-F238E27FC236}">
                  <a16:creationId xmlns="" xmlns:a16="http://schemas.microsoft.com/office/drawing/2014/main" id="{5FEE9317-E4C7-4F2B-A9C5-0646ADD7D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6151" y="5127625"/>
              <a:ext cx="0" cy="92075"/>
            </a:xfrm>
            <a:custGeom>
              <a:avLst/>
              <a:gdLst>
                <a:gd name="T0" fmla="*/ 0 h 164"/>
                <a:gd name="T1" fmla="*/ 0 h 164"/>
                <a:gd name="T2" fmla="*/ 164 h 16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64">
                  <a:moveTo>
                    <a:pt x="0" y="0"/>
                  </a:moveTo>
                  <a:lnTo>
                    <a:pt x="0" y="0"/>
                  </a:lnTo>
                  <a:lnTo>
                    <a:pt x="0" y="164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Freeform 25">
              <a:extLst>
                <a:ext uri="{FF2B5EF4-FFF2-40B4-BE49-F238E27FC236}">
                  <a16:creationId xmlns="" xmlns:a16="http://schemas.microsoft.com/office/drawing/2014/main" id="{59F0C297-2871-445B-AD79-5AB31834D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0863" y="4905375"/>
              <a:ext cx="0" cy="71438"/>
            </a:xfrm>
            <a:custGeom>
              <a:avLst/>
              <a:gdLst>
                <a:gd name="T0" fmla="*/ 0 h 126"/>
                <a:gd name="T1" fmla="*/ 0 h 126"/>
                <a:gd name="T2" fmla="*/ 126 h 12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26">
                  <a:moveTo>
                    <a:pt x="0" y="0"/>
                  </a:moveTo>
                  <a:lnTo>
                    <a:pt x="0" y="0"/>
                  </a:lnTo>
                  <a:lnTo>
                    <a:pt x="0" y="126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Freeform 26">
              <a:extLst>
                <a:ext uri="{FF2B5EF4-FFF2-40B4-BE49-F238E27FC236}">
                  <a16:creationId xmlns="" xmlns:a16="http://schemas.microsoft.com/office/drawing/2014/main" id="{67470579-639C-4B5C-9569-59F3EF9D8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8576" y="5089525"/>
              <a:ext cx="93663" cy="177800"/>
            </a:xfrm>
            <a:custGeom>
              <a:avLst/>
              <a:gdLst>
                <a:gd name="T0" fmla="*/ 164 w 164"/>
                <a:gd name="T1" fmla="*/ 315 h 315"/>
                <a:gd name="T2" fmla="*/ 164 w 164"/>
                <a:gd name="T3" fmla="*/ 315 h 315"/>
                <a:gd name="T4" fmla="*/ 0 w 164"/>
                <a:gd name="T5" fmla="*/ 315 h 315"/>
                <a:gd name="T6" fmla="*/ 0 w 164"/>
                <a:gd name="T7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4" h="315">
                  <a:moveTo>
                    <a:pt x="164" y="315"/>
                  </a:moveTo>
                  <a:lnTo>
                    <a:pt x="164" y="315"/>
                  </a:lnTo>
                  <a:lnTo>
                    <a:pt x="0" y="315"/>
                  </a:lnTo>
                  <a:lnTo>
                    <a:pt x="0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" name="Freeform 27">
              <a:extLst>
                <a:ext uri="{FF2B5EF4-FFF2-40B4-BE49-F238E27FC236}">
                  <a16:creationId xmlns="" xmlns:a16="http://schemas.microsoft.com/office/drawing/2014/main" id="{FBA8DC91-D5D5-4442-9ECA-7EBD9CFBC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1488" y="4924425"/>
              <a:ext cx="228600" cy="201613"/>
            </a:xfrm>
            <a:custGeom>
              <a:avLst/>
              <a:gdLst>
                <a:gd name="T0" fmla="*/ 407 w 407"/>
                <a:gd name="T1" fmla="*/ 356 h 356"/>
                <a:gd name="T2" fmla="*/ 407 w 407"/>
                <a:gd name="T3" fmla="*/ 356 h 356"/>
                <a:gd name="T4" fmla="*/ 281 w 407"/>
                <a:gd name="T5" fmla="*/ 176 h 356"/>
                <a:gd name="T6" fmla="*/ 236 w 407"/>
                <a:gd name="T7" fmla="*/ 135 h 356"/>
                <a:gd name="T8" fmla="*/ 0 w 407"/>
                <a:gd name="T9" fmla="*/ 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7" h="356">
                  <a:moveTo>
                    <a:pt x="407" y="356"/>
                  </a:moveTo>
                  <a:lnTo>
                    <a:pt x="407" y="356"/>
                  </a:lnTo>
                  <a:lnTo>
                    <a:pt x="281" y="176"/>
                  </a:lnTo>
                  <a:cubicBezTo>
                    <a:pt x="269" y="159"/>
                    <a:pt x="254" y="145"/>
                    <a:pt x="236" y="135"/>
                  </a:cubicBezTo>
                  <a:lnTo>
                    <a:pt x="0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28">
              <a:extLst>
                <a:ext uri="{FF2B5EF4-FFF2-40B4-BE49-F238E27FC236}">
                  <a16:creationId xmlns="" xmlns:a16="http://schemas.microsoft.com/office/drawing/2014/main" id="{65AFE27F-9E05-4AE3-9E5A-5527D8B384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5038" y="4927600"/>
              <a:ext cx="166688" cy="646113"/>
            </a:xfrm>
            <a:custGeom>
              <a:avLst/>
              <a:gdLst>
                <a:gd name="T0" fmla="*/ 223 w 294"/>
                <a:gd name="T1" fmla="*/ 1144 h 1144"/>
                <a:gd name="T2" fmla="*/ 223 w 294"/>
                <a:gd name="T3" fmla="*/ 1144 h 1144"/>
                <a:gd name="T4" fmla="*/ 11 w 294"/>
                <a:gd name="T5" fmla="*/ 861 h 1144"/>
                <a:gd name="T6" fmla="*/ 118 w 294"/>
                <a:gd name="T7" fmla="*/ 548 h 1144"/>
                <a:gd name="T8" fmla="*/ 294 w 294"/>
                <a:gd name="T9" fmla="*/ 0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4" h="1144">
                  <a:moveTo>
                    <a:pt x="223" y="1144"/>
                  </a:moveTo>
                  <a:lnTo>
                    <a:pt x="223" y="1144"/>
                  </a:lnTo>
                  <a:cubicBezTo>
                    <a:pt x="223" y="1144"/>
                    <a:pt x="0" y="892"/>
                    <a:pt x="11" y="861"/>
                  </a:cubicBezTo>
                  <a:lnTo>
                    <a:pt x="118" y="548"/>
                  </a:lnTo>
                  <a:lnTo>
                    <a:pt x="294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29">
              <a:extLst>
                <a:ext uri="{FF2B5EF4-FFF2-40B4-BE49-F238E27FC236}">
                  <a16:creationId xmlns="" xmlns:a16="http://schemas.microsoft.com/office/drawing/2014/main" id="{33B3539C-4731-4102-AFC2-3CCAE3F7E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6901" y="4881563"/>
              <a:ext cx="166688" cy="827088"/>
            </a:xfrm>
            <a:custGeom>
              <a:avLst/>
              <a:gdLst>
                <a:gd name="T0" fmla="*/ 296 w 296"/>
                <a:gd name="T1" fmla="*/ 1466 h 1466"/>
                <a:gd name="T2" fmla="*/ 296 w 296"/>
                <a:gd name="T3" fmla="*/ 1466 h 1466"/>
                <a:gd name="T4" fmla="*/ 180 w 296"/>
                <a:gd name="T5" fmla="*/ 776 h 1466"/>
                <a:gd name="T6" fmla="*/ 179 w 296"/>
                <a:gd name="T7" fmla="*/ 766 h 1466"/>
                <a:gd name="T8" fmla="*/ 166 w 296"/>
                <a:gd name="T9" fmla="*/ 711 h 1466"/>
                <a:gd name="T10" fmla="*/ 12 w 296"/>
                <a:gd name="T11" fmla="*/ 462 h 1466"/>
                <a:gd name="T12" fmla="*/ 26 w 296"/>
                <a:gd name="T13" fmla="*/ 410 h 1466"/>
                <a:gd name="T14" fmla="*/ 264 w 296"/>
                <a:gd name="T15" fmla="*/ 286 h 1466"/>
                <a:gd name="T16" fmla="*/ 284 w 296"/>
                <a:gd name="T17" fmla="*/ 253 h 1466"/>
                <a:gd name="T18" fmla="*/ 284 w 296"/>
                <a:gd name="T19" fmla="*/ 0 h 1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6" h="1466">
                  <a:moveTo>
                    <a:pt x="296" y="1466"/>
                  </a:moveTo>
                  <a:lnTo>
                    <a:pt x="296" y="1466"/>
                  </a:lnTo>
                  <a:lnTo>
                    <a:pt x="180" y="776"/>
                  </a:lnTo>
                  <a:cubicBezTo>
                    <a:pt x="179" y="772"/>
                    <a:pt x="179" y="769"/>
                    <a:pt x="179" y="766"/>
                  </a:cubicBezTo>
                  <a:cubicBezTo>
                    <a:pt x="181" y="747"/>
                    <a:pt x="176" y="728"/>
                    <a:pt x="166" y="711"/>
                  </a:cubicBezTo>
                  <a:lnTo>
                    <a:pt x="12" y="462"/>
                  </a:lnTo>
                  <a:cubicBezTo>
                    <a:pt x="0" y="444"/>
                    <a:pt x="7" y="420"/>
                    <a:pt x="26" y="410"/>
                  </a:cubicBezTo>
                  <a:lnTo>
                    <a:pt x="264" y="286"/>
                  </a:lnTo>
                  <a:cubicBezTo>
                    <a:pt x="276" y="280"/>
                    <a:pt x="284" y="267"/>
                    <a:pt x="284" y="253"/>
                  </a:cubicBezTo>
                  <a:lnTo>
                    <a:pt x="284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Freeform 30">
              <a:extLst>
                <a:ext uri="{FF2B5EF4-FFF2-40B4-BE49-F238E27FC236}">
                  <a16:creationId xmlns="" xmlns:a16="http://schemas.microsoft.com/office/drawing/2014/main" id="{E4834ADE-F93F-4D24-8601-611FB5EDF2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6413" y="5265738"/>
              <a:ext cx="131763" cy="431800"/>
            </a:xfrm>
            <a:custGeom>
              <a:avLst/>
              <a:gdLst>
                <a:gd name="T0" fmla="*/ 59 w 234"/>
                <a:gd name="T1" fmla="*/ 0 h 766"/>
                <a:gd name="T2" fmla="*/ 59 w 234"/>
                <a:gd name="T3" fmla="*/ 0 h 766"/>
                <a:gd name="T4" fmla="*/ 1 w 234"/>
                <a:gd name="T5" fmla="*/ 313 h 766"/>
                <a:gd name="T6" fmla="*/ 5 w 234"/>
                <a:gd name="T7" fmla="*/ 337 h 766"/>
                <a:gd name="T8" fmla="*/ 234 w 234"/>
                <a:gd name="T9" fmla="*/ 766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4" h="766">
                  <a:moveTo>
                    <a:pt x="59" y="0"/>
                  </a:moveTo>
                  <a:lnTo>
                    <a:pt x="59" y="0"/>
                  </a:lnTo>
                  <a:lnTo>
                    <a:pt x="1" y="313"/>
                  </a:lnTo>
                  <a:cubicBezTo>
                    <a:pt x="0" y="321"/>
                    <a:pt x="1" y="330"/>
                    <a:pt x="5" y="337"/>
                  </a:cubicBezTo>
                  <a:lnTo>
                    <a:pt x="234" y="766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31">
              <a:extLst>
                <a:ext uri="{FF2B5EF4-FFF2-40B4-BE49-F238E27FC236}">
                  <a16:creationId xmlns="" xmlns:a16="http://schemas.microsoft.com/office/drawing/2014/main" id="{BE6E952A-6C06-4A0E-9DC3-358A27CE5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4563" y="4808538"/>
              <a:ext cx="874713" cy="731838"/>
            </a:xfrm>
            <a:custGeom>
              <a:avLst/>
              <a:gdLst>
                <a:gd name="T0" fmla="*/ 108 w 1553"/>
                <a:gd name="T1" fmla="*/ 0 h 1296"/>
                <a:gd name="T2" fmla="*/ 108 w 1553"/>
                <a:gd name="T3" fmla="*/ 0 h 1296"/>
                <a:gd name="T4" fmla="*/ 5 w 1553"/>
                <a:gd name="T5" fmla="*/ 179 h 1296"/>
                <a:gd name="T6" fmla="*/ 0 w 1553"/>
                <a:gd name="T7" fmla="*/ 197 h 1296"/>
                <a:gd name="T8" fmla="*/ 0 w 1553"/>
                <a:gd name="T9" fmla="*/ 461 h 1296"/>
                <a:gd name="T10" fmla="*/ 14 w 1553"/>
                <a:gd name="T11" fmla="*/ 527 h 1296"/>
                <a:gd name="T12" fmla="*/ 16 w 1553"/>
                <a:gd name="T13" fmla="*/ 532 h 1296"/>
                <a:gd name="T14" fmla="*/ 329 w 1553"/>
                <a:gd name="T15" fmla="*/ 1062 h 1296"/>
                <a:gd name="T16" fmla="*/ 408 w 1553"/>
                <a:gd name="T17" fmla="*/ 1143 h 1296"/>
                <a:gd name="T18" fmla="*/ 692 w 1553"/>
                <a:gd name="T19" fmla="*/ 1280 h 1296"/>
                <a:gd name="T20" fmla="*/ 764 w 1553"/>
                <a:gd name="T21" fmla="*/ 1296 h 1296"/>
                <a:gd name="T22" fmla="*/ 1553 w 1553"/>
                <a:gd name="T23" fmla="*/ 1296 h 1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53" h="1296">
                  <a:moveTo>
                    <a:pt x="108" y="0"/>
                  </a:moveTo>
                  <a:lnTo>
                    <a:pt x="108" y="0"/>
                  </a:lnTo>
                  <a:lnTo>
                    <a:pt x="5" y="179"/>
                  </a:lnTo>
                  <a:cubicBezTo>
                    <a:pt x="2" y="184"/>
                    <a:pt x="0" y="191"/>
                    <a:pt x="0" y="197"/>
                  </a:cubicBezTo>
                  <a:lnTo>
                    <a:pt x="0" y="461"/>
                  </a:lnTo>
                  <a:cubicBezTo>
                    <a:pt x="0" y="484"/>
                    <a:pt x="5" y="506"/>
                    <a:pt x="14" y="527"/>
                  </a:cubicBezTo>
                  <a:cubicBezTo>
                    <a:pt x="15" y="529"/>
                    <a:pt x="16" y="530"/>
                    <a:pt x="16" y="532"/>
                  </a:cubicBezTo>
                  <a:lnTo>
                    <a:pt x="329" y="1062"/>
                  </a:lnTo>
                  <a:cubicBezTo>
                    <a:pt x="345" y="1098"/>
                    <a:pt x="373" y="1126"/>
                    <a:pt x="408" y="1143"/>
                  </a:cubicBezTo>
                  <a:lnTo>
                    <a:pt x="692" y="1280"/>
                  </a:lnTo>
                  <a:cubicBezTo>
                    <a:pt x="715" y="1291"/>
                    <a:pt x="739" y="1296"/>
                    <a:pt x="764" y="1296"/>
                  </a:cubicBezTo>
                  <a:lnTo>
                    <a:pt x="1553" y="1296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Freeform 32">
              <a:extLst>
                <a:ext uri="{FF2B5EF4-FFF2-40B4-BE49-F238E27FC236}">
                  <a16:creationId xmlns="" xmlns:a16="http://schemas.microsoft.com/office/drawing/2014/main" id="{063DDDB3-3E6E-4D0A-8A88-2A6C32AB1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338" y="5622925"/>
              <a:ext cx="303213" cy="0"/>
            </a:xfrm>
            <a:custGeom>
              <a:avLst/>
              <a:gdLst>
                <a:gd name="T0" fmla="*/ 0 w 537"/>
                <a:gd name="T1" fmla="*/ 0 w 537"/>
                <a:gd name="T2" fmla="*/ 537 w 53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537">
                  <a:moveTo>
                    <a:pt x="0" y="0"/>
                  </a:moveTo>
                  <a:lnTo>
                    <a:pt x="0" y="0"/>
                  </a:lnTo>
                  <a:lnTo>
                    <a:pt x="537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" name="Freeform 33">
              <a:extLst>
                <a:ext uri="{FF2B5EF4-FFF2-40B4-BE49-F238E27FC236}">
                  <a16:creationId xmlns="" xmlns:a16="http://schemas.microsoft.com/office/drawing/2014/main" id="{680B5BAD-516B-4F64-AC78-BDA70E1FD6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2551" y="4906963"/>
              <a:ext cx="1347788" cy="830263"/>
            </a:xfrm>
            <a:custGeom>
              <a:avLst/>
              <a:gdLst>
                <a:gd name="T0" fmla="*/ 0 w 2390"/>
                <a:gd name="T1" fmla="*/ 749 h 1470"/>
                <a:gd name="T2" fmla="*/ 0 w 2390"/>
                <a:gd name="T3" fmla="*/ 749 h 1470"/>
                <a:gd name="T4" fmla="*/ 203 w 2390"/>
                <a:gd name="T5" fmla="*/ 1262 h 1470"/>
                <a:gd name="T6" fmla="*/ 212 w 2390"/>
                <a:gd name="T7" fmla="*/ 1275 h 1470"/>
                <a:gd name="T8" fmla="*/ 385 w 2390"/>
                <a:gd name="T9" fmla="*/ 1445 h 1470"/>
                <a:gd name="T10" fmla="*/ 465 w 2390"/>
                <a:gd name="T11" fmla="*/ 1453 h 1470"/>
                <a:gd name="T12" fmla="*/ 766 w 2390"/>
                <a:gd name="T13" fmla="*/ 1187 h 1470"/>
                <a:gd name="T14" fmla="*/ 779 w 2390"/>
                <a:gd name="T15" fmla="*/ 1180 h 1470"/>
                <a:gd name="T16" fmla="*/ 1143 w 2390"/>
                <a:gd name="T17" fmla="*/ 1071 h 1470"/>
                <a:gd name="T18" fmla="*/ 1168 w 2390"/>
                <a:gd name="T19" fmla="*/ 1073 h 1470"/>
                <a:gd name="T20" fmla="*/ 1549 w 2390"/>
                <a:gd name="T21" fmla="*/ 1243 h 1470"/>
                <a:gd name="T22" fmla="*/ 1560 w 2390"/>
                <a:gd name="T23" fmla="*/ 1251 h 1470"/>
                <a:gd name="T24" fmla="*/ 1634 w 2390"/>
                <a:gd name="T25" fmla="*/ 1256 h 1470"/>
                <a:gd name="T26" fmla="*/ 1814 w 2390"/>
                <a:gd name="T27" fmla="*/ 1134 h 1470"/>
                <a:gd name="T28" fmla="*/ 1825 w 2390"/>
                <a:gd name="T29" fmla="*/ 1129 h 1470"/>
                <a:gd name="T30" fmla="*/ 1966 w 2390"/>
                <a:gd name="T31" fmla="*/ 1092 h 1470"/>
                <a:gd name="T32" fmla="*/ 2005 w 2390"/>
                <a:gd name="T33" fmla="*/ 1063 h 1470"/>
                <a:gd name="T34" fmla="*/ 2331 w 2390"/>
                <a:gd name="T35" fmla="*/ 577 h 1470"/>
                <a:gd name="T36" fmla="*/ 2340 w 2390"/>
                <a:gd name="T37" fmla="*/ 545 h 1470"/>
                <a:gd name="T38" fmla="*/ 2310 w 2390"/>
                <a:gd name="T39" fmla="*/ 202 h 1470"/>
                <a:gd name="T40" fmla="*/ 2315 w 2390"/>
                <a:gd name="T41" fmla="*/ 177 h 1470"/>
                <a:gd name="T42" fmla="*/ 2390 w 2390"/>
                <a:gd name="T43" fmla="*/ 0 h 1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90" h="1470">
                  <a:moveTo>
                    <a:pt x="0" y="749"/>
                  </a:moveTo>
                  <a:lnTo>
                    <a:pt x="0" y="749"/>
                  </a:lnTo>
                  <a:lnTo>
                    <a:pt x="203" y="1262"/>
                  </a:lnTo>
                  <a:cubicBezTo>
                    <a:pt x="205" y="1267"/>
                    <a:pt x="208" y="1271"/>
                    <a:pt x="212" y="1275"/>
                  </a:cubicBezTo>
                  <a:lnTo>
                    <a:pt x="385" y="1445"/>
                  </a:lnTo>
                  <a:cubicBezTo>
                    <a:pt x="406" y="1466"/>
                    <a:pt x="440" y="1470"/>
                    <a:pt x="465" y="1453"/>
                  </a:cubicBezTo>
                  <a:lnTo>
                    <a:pt x="766" y="1187"/>
                  </a:lnTo>
                  <a:cubicBezTo>
                    <a:pt x="770" y="1184"/>
                    <a:pt x="774" y="1181"/>
                    <a:pt x="779" y="1180"/>
                  </a:cubicBezTo>
                  <a:cubicBezTo>
                    <a:pt x="826" y="1164"/>
                    <a:pt x="1082" y="1089"/>
                    <a:pt x="1143" y="1071"/>
                  </a:cubicBezTo>
                  <a:cubicBezTo>
                    <a:pt x="1151" y="1069"/>
                    <a:pt x="1160" y="1069"/>
                    <a:pt x="1168" y="1073"/>
                  </a:cubicBezTo>
                  <a:lnTo>
                    <a:pt x="1549" y="1243"/>
                  </a:lnTo>
                  <a:cubicBezTo>
                    <a:pt x="1553" y="1245"/>
                    <a:pt x="1557" y="1248"/>
                    <a:pt x="1560" y="1251"/>
                  </a:cubicBezTo>
                  <a:cubicBezTo>
                    <a:pt x="1580" y="1269"/>
                    <a:pt x="1611" y="1271"/>
                    <a:pt x="1634" y="1256"/>
                  </a:cubicBezTo>
                  <a:lnTo>
                    <a:pt x="1814" y="1134"/>
                  </a:lnTo>
                  <a:cubicBezTo>
                    <a:pt x="1817" y="1132"/>
                    <a:pt x="1821" y="1130"/>
                    <a:pt x="1825" y="1129"/>
                  </a:cubicBezTo>
                  <a:lnTo>
                    <a:pt x="1966" y="1092"/>
                  </a:lnTo>
                  <a:cubicBezTo>
                    <a:pt x="1983" y="1088"/>
                    <a:pt x="1997" y="1077"/>
                    <a:pt x="2005" y="1063"/>
                  </a:cubicBezTo>
                  <a:lnTo>
                    <a:pt x="2331" y="577"/>
                  </a:lnTo>
                  <a:cubicBezTo>
                    <a:pt x="2337" y="567"/>
                    <a:pt x="2340" y="556"/>
                    <a:pt x="2340" y="545"/>
                  </a:cubicBezTo>
                  <a:lnTo>
                    <a:pt x="2310" y="202"/>
                  </a:lnTo>
                  <a:cubicBezTo>
                    <a:pt x="2310" y="193"/>
                    <a:pt x="2312" y="185"/>
                    <a:pt x="2315" y="177"/>
                  </a:cubicBezTo>
                  <a:lnTo>
                    <a:pt x="2390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" name="Freeform 34">
              <a:extLst>
                <a:ext uri="{FF2B5EF4-FFF2-40B4-BE49-F238E27FC236}">
                  <a16:creationId xmlns="" xmlns:a16="http://schemas.microsoft.com/office/drawing/2014/main" id="{82B54E08-03DC-4529-A217-2DA3F0298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1663" y="3971925"/>
              <a:ext cx="984250" cy="952500"/>
            </a:xfrm>
            <a:custGeom>
              <a:avLst/>
              <a:gdLst>
                <a:gd name="T0" fmla="*/ 1562 w 1747"/>
                <a:gd name="T1" fmla="*/ 0 h 1687"/>
                <a:gd name="T2" fmla="*/ 1562 w 1747"/>
                <a:gd name="T3" fmla="*/ 0 h 1687"/>
                <a:gd name="T4" fmla="*/ 1734 w 1747"/>
                <a:gd name="T5" fmla="*/ 184 h 1687"/>
                <a:gd name="T6" fmla="*/ 1742 w 1747"/>
                <a:gd name="T7" fmla="*/ 223 h 1687"/>
                <a:gd name="T8" fmla="*/ 1446 w 1747"/>
                <a:gd name="T9" fmla="*/ 999 h 1687"/>
                <a:gd name="T10" fmla="*/ 1432 w 1747"/>
                <a:gd name="T11" fmla="*/ 1017 h 1687"/>
                <a:gd name="T12" fmla="*/ 688 w 1747"/>
                <a:gd name="T13" fmla="*/ 1505 h 1687"/>
                <a:gd name="T14" fmla="*/ 677 w 1747"/>
                <a:gd name="T15" fmla="*/ 1510 h 1687"/>
                <a:gd name="T16" fmla="*/ 0 w 1747"/>
                <a:gd name="T17" fmla="*/ 1687 h 1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47" h="1687">
                  <a:moveTo>
                    <a:pt x="1562" y="0"/>
                  </a:moveTo>
                  <a:lnTo>
                    <a:pt x="1562" y="0"/>
                  </a:lnTo>
                  <a:lnTo>
                    <a:pt x="1734" y="184"/>
                  </a:lnTo>
                  <a:cubicBezTo>
                    <a:pt x="1744" y="194"/>
                    <a:pt x="1747" y="209"/>
                    <a:pt x="1742" y="223"/>
                  </a:cubicBezTo>
                  <a:lnTo>
                    <a:pt x="1446" y="999"/>
                  </a:lnTo>
                  <a:cubicBezTo>
                    <a:pt x="1444" y="1007"/>
                    <a:pt x="1439" y="1013"/>
                    <a:pt x="1432" y="1017"/>
                  </a:cubicBezTo>
                  <a:lnTo>
                    <a:pt x="688" y="1505"/>
                  </a:lnTo>
                  <a:cubicBezTo>
                    <a:pt x="685" y="1507"/>
                    <a:pt x="681" y="1509"/>
                    <a:pt x="677" y="1510"/>
                  </a:cubicBezTo>
                  <a:lnTo>
                    <a:pt x="0" y="1687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Freeform 35">
              <a:extLst>
                <a:ext uri="{FF2B5EF4-FFF2-40B4-BE49-F238E27FC236}">
                  <a16:creationId xmlns="" xmlns:a16="http://schemas.microsoft.com/office/drawing/2014/main" id="{6E710328-6A3B-42D2-A3CE-327C0A103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8913" y="4095750"/>
              <a:ext cx="117475" cy="55563"/>
            </a:xfrm>
            <a:custGeom>
              <a:avLst/>
              <a:gdLst>
                <a:gd name="T0" fmla="*/ 0 w 207"/>
                <a:gd name="T1" fmla="*/ 99 h 99"/>
                <a:gd name="T2" fmla="*/ 0 w 207"/>
                <a:gd name="T3" fmla="*/ 99 h 99"/>
                <a:gd name="T4" fmla="*/ 207 w 207"/>
                <a:gd name="T5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7" h="99">
                  <a:moveTo>
                    <a:pt x="0" y="99"/>
                  </a:moveTo>
                  <a:lnTo>
                    <a:pt x="0" y="99"/>
                  </a:lnTo>
                  <a:lnTo>
                    <a:pt x="207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" name="Freeform 36">
              <a:extLst>
                <a:ext uri="{FF2B5EF4-FFF2-40B4-BE49-F238E27FC236}">
                  <a16:creationId xmlns="" xmlns:a16="http://schemas.microsoft.com/office/drawing/2014/main" id="{126A5F75-957B-4BFA-9AE5-D3F751D53C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4463" y="4543425"/>
              <a:ext cx="90488" cy="95250"/>
            </a:xfrm>
            <a:custGeom>
              <a:avLst/>
              <a:gdLst>
                <a:gd name="T0" fmla="*/ 160 w 160"/>
                <a:gd name="T1" fmla="*/ 171 h 171"/>
                <a:gd name="T2" fmla="*/ 160 w 160"/>
                <a:gd name="T3" fmla="*/ 171 h 171"/>
                <a:gd name="T4" fmla="*/ 0 w 160"/>
                <a:gd name="T5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0" h="171">
                  <a:moveTo>
                    <a:pt x="160" y="171"/>
                  </a:moveTo>
                  <a:lnTo>
                    <a:pt x="160" y="171"/>
                  </a:lnTo>
                  <a:lnTo>
                    <a:pt x="0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Freeform 37">
              <a:extLst>
                <a:ext uri="{FF2B5EF4-FFF2-40B4-BE49-F238E27FC236}">
                  <a16:creationId xmlns="" xmlns:a16="http://schemas.microsoft.com/office/drawing/2014/main" id="{757087D9-95E1-4B01-B5BB-69C1B2BB7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2426" y="4437063"/>
              <a:ext cx="223838" cy="533400"/>
            </a:xfrm>
            <a:custGeom>
              <a:avLst/>
              <a:gdLst>
                <a:gd name="T0" fmla="*/ 0 w 397"/>
                <a:gd name="T1" fmla="*/ 945 h 945"/>
                <a:gd name="T2" fmla="*/ 0 w 397"/>
                <a:gd name="T3" fmla="*/ 945 h 945"/>
                <a:gd name="T4" fmla="*/ 174 w 397"/>
                <a:gd name="T5" fmla="*/ 681 h 945"/>
                <a:gd name="T6" fmla="*/ 179 w 397"/>
                <a:gd name="T7" fmla="*/ 670 h 945"/>
                <a:gd name="T8" fmla="*/ 300 w 397"/>
                <a:gd name="T9" fmla="*/ 224 h 945"/>
                <a:gd name="T10" fmla="*/ 308 w 397"/>
                <a:gd name="T11" fmla="*/ 209 h 945"/>
                <a:gd name="T12" fmla="*/ 388 w 397"/>
                <a:gd name="T13" fmla="*/ 119 h 945"/>
                <a:gd name="T14" fmla="*/ 397 w 397"/>
                <a:gd name="T15" fmla="*/ 95 h 945"/>
                <a:gd name="T16" fmla="*/ 397 w 397"/>
                <a:gd name="T17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7" h="945">
                  <a:moveTo>
                    <a:pt x="0" y="945"/>
                  </a:moveTo>
                  <a:lnTo>
                    <a:pt x="0" y="945"/>
                  </a:lnTo>
                  <a:lnTo>
                    <a:pt x="174" y="681"/>
                  </a:lnTo>
                  <a:cubicBezTo>
                    <a:pt x="176" y="677"/>
                    <a:pt x="178" y="674"/>
                    <a:pt x="179" y="670"/>
                  </a:cubicBezTo>
                  <a:lnTo>
                    <a:pt x="300" y="224"/>
                  </a:lnTo>
                  <a:cubicBezTo>
                    <a:pt x="302" y="218"/>
                    <a:pt x="304" y="213"/>
                    <a:pt x="308" y="209"/>
                  </a:cubicBezTo>
                  <a:lnTo>
                    <a:pt x="388" y="119"/>
                  </a:lnTo>
                  <a:cubicBezTo>
                    <a:pt x="394" y="113"/>
                    <a:pt x="397" y="104"/>
                    <a:pt x="397" y="95"/>
                  </a:cubicBezTo>
                  <a:lnTo>
                    <a:pt x="397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" name="Freeform 38">
              <a:extLst>
                <a:ext uri="{FF2B5EF4-FFF2-40B4-BE49-F238E27FC236}">
                  <a16:creationId xmlns="" xmlns:a16="http://schemas.microsoft.com/office/drawing/2014/main" id="{1D94FF5F-D4A1-4552-B9A5-4B694109A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6226" y="4432300"/>
              <a:ext cx="141288" cy="509588"/>
            </a:xfrm>
            <a:custGeom>
              <a:avLst/>
              <a:gdLst>
                <a:gd name="T0" fmla="*/ 0 w 251"/>
                <a:gd name="T1" fmla="*/ 903 h 903"/>
                <a:gd name="T2" fmla="*/ 0 w 251"/>
                <a:gd name="T3" fmla="*/ 903 h 903"/>
                <a:gd name="T4" fmla="*/ 197 w 251"/>
                <a:gd name="T5" fmla="*/ 549 h 903"/>
                <a:gd name="T6" fmla="*/ 202 w 251"/>
                <a:gd name="T7" fmla="*/ 530 h 903"/>
                <a:gd name="T8" fmla="*/ 192 w 251"/>
                <a:gd name="T9" fmla="*/ 332 h 903"/>
                <a:gd name="T10" fmla="*/ 192 w 251"/>
                <a:gd name="T11" fmla="*/ 323 h 903"/>
                <a:gd name="T12" fmla="*/ 251 w 251"/>
                <a:gd name="T13" fmla="*/ 0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1" h="903">
                  <a:moveTo>
                    <a:pt x="0" y="903"/>
                  </a:moveTo>
                  <a:lnTo>
                    <a:pt x="0" y="903"/>
                  </a:lnTo>
                  <a:lnTo>
                    <a:pt x="197" y="549"/>
                  </a:lnTo>
                  <a:cubicBezTo>
                    <a:pt x="200" y="543"/>
                    <a:pt x="202" y="536"/>
                    <a:pt x="202" y="530"/>
                  </a:cubicBezTo>
                  <a:lnTo>
                    <a:pt x="192" y="332"/>
                  </a:lnTo>
                  <a:cubicBezTo>
                    <a:pt x="192" y="329"/>
                    <a:pt x="192" y="326"/>
                    <a:pt x="192" y="323"/>
                  </a:cubicBezTo>
                  <a:lnTo>
                    <a:pt x="251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Freeform 39">
              <a:extLst>
                <a:ext uri="{FF2B5EF4-FFF2-40B4-BE49-F238E27FC236}">
                  <a16:creationId xmlns="" xmlns:a16="http://schemas.microsoft.com/office/drawing/2014/main" id="{ECF96254-5D8D-49AD-ADC3-096E138269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2076" y="4294188"/>
              <a:ext cx="779463" cy="495300"/>
            </a:xfrm>
            <a:custGeom>
              <a:avLst/>
              <a:gdLst>
                <a:gd name="T0" fmla="*/ 159 w 1382"/>
                <a:gd name="T1" fmla="*/ 0 h 879"/>
                <a:gd name="T2" fmla="*/ 159 w 1382"/>
                <a:gd name="T3" fmla="*/ 0 h 879"/>
                <a:gd name="T4" fmla="*/ 50 w 1382"/>
                <a:gd name="T5" fmla="*/ 112 h 879"/>
                <a:gd name="T6" fmla="*/ 25 w 1382"/>
                <a:gd name="T7" fmla="*/ 147 h 879"/>
                <a:gd name="T8" fmla="*/ 68 w 1382"/>
                <a:gd name="T9" fmla="*/ 304 h 879"/>
                <a:gd name="T10" fmla="*/ 349 w 1382"/>
                <a:gd name="T11" fmla="*/ 501 h 879"/>
                <a:gd name="T12" fmla="*/ 384 w 1382"/>
                <a:gd name="T13" fmla="*/ 518 h 879"/>
                <a:gd name="T14" fmla="*/ 640 w 1382"/>
                <a:gd name="T15" fmla="*/ 598 h 879"/>
                <a:gd name="T16" fmla="*/ 699 w 1382"/>
                <a:gd name="T17" fmla="*/ 637 h 879"/>
                <a:gd name="T18" fmla="*/ 862 w 1382"/>
                <a:gd name="T19" fmla="*/ 829 h 879"/>
                <a:gd name="T20" fmla="*/ 977 w 1382"/>
                <a:gd name="T21" fmla="*/ 873 h 879"/>
                <a:gd name="T22" fmla="*/ 1208 w 1382"/>
                <a:gd name="T23" fmla="*/ 838 h 879"/>
                <a:gd name="T24" fmla="*/ 1308 w 1382"/>
                <a:gd name="T25" fmla="*/ 759 h 879"/>
                <a:gd name="T26" fmla="*/ 1382 w 1382"/>
                <a:gd name="T27" fmla="*/ 568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2" h="879">
                  <a:moveTo>
                    <a:pt x="159" y="0"/>
                  </a:moveTo>
                  <a:lnTo>
                    <a:pt x="159" y="0"/>
                  </a:lnTo>
                  <a:lnTo>
                    <a:pt x="50" y="112"/>
                  </a:lnTo>
                  <a:cubicBezTo>
                    <a:pt x="40" y="122"/>
                    <a:pt x="31" y="134"/>
                    <a:pt x="25" y="147"/>
                  </a:cubicBezTo>
                  <a:cubicBezTo>
                    <a:pt x="0" y="202"/>
                    <a:pt x="17" y="269"/>
                    <a:pt x="68" y="304"/>
                  </a:cubicBezTo>
                  <a:lnTo>
                    <a:pt x="349" y="501"/>
                  </a:lnTo>
                  <a:cubicBezTo>
                    <a:pt x="359" y="509"/>
                    <a:pt x="371" y="515"/>
                    <a:pt x="384" y="518"/>
                  </a:cubicBezTo>
                  <a:lnTo>
                    <a:pt x="640" y="598"/>
                  </a:lnTo>
                  <a:cubicBezTo>
                    <a:pt x="663" y="605"/>
                    <a:pt x="684" y="619"/>
                    <a:pt x="699" y="637"/>
                  </a:cubicBezTo>
                  <a:lnTo>
                    <a:pt x="862" y="829"/>
                  </a:lnTo>
                  <a:cubicBezTo>
                    <a:pt x="890" y="863"/>
                    <a:pt x="934" y="879"/>
                    <a:pt x="977" y="873"/>
                  </a:cubicBezTo>
                  <a:lnTo>
                    <a:pt x="1208" y="838"/>
                  </a:lnTo>
                  <a:cubicBezTo>
                    <a:pt x="1253" y="831"/>
                    <a:pt x="1291" y="801"/>
                    <a:pt x="1308" y="759"/>
                  </a:cubicBezTo>
                  <a:lnTo>
                    <a:pt x="1382" y="568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Freeform 40">
              <a:extLst>
                <a:ext uri="{FF2B5EF4-FFF2-40B4-BE49-F238E27FC236}">
                  <a16:creationId xmlns="" xmlns:a16="http://schemas.microsoft.com/office/drawing/2014/main" id="{E26C17E3-8D1D-42ED-B109-94207FC526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5588" y="4491038"/>
              <a:ext cx="544513" cy="703263"/>
            </a:xfrm>
            <a:custGeom>
              <a:avLst/>
              <a:gdLst>
                <a:gd name="T0" fmla="*/ 966 w 966"/>
                <a:gd name="T1" fmla="*/ 1247 h 1247"/>
                <a:gd name="T2" fmla="*/ 966 w 966"/>
                <a:gd name="T3" fmla="*/ 1247 h 1247"/>
                <a:gd name="T4" fmla="*/ 351 w 966"/>
                <a:gd name="T5" fmla="*/ 581 h 1247"/>
                <a:gd name="T6" fmla="*/ 349 w 966"/>
                <a:gd name="T7" fmla="*/ 579 h 1247"/>
                <a:gd name="T8" fmla="*/ 16 w 966"/>
                <a:gd name="T9" fmla="*/ 271 h 1247"/>
                <a:gd name="T10" fmla="*/ 12 w 966"/>
                <a:gd name="T11" fmla="*/ 221 h 1247"/>
                <a:gd name="T12" fmla="*/ 176 w 966"/>
                <a:gd name="T13" fmla="*/ 0 h 1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6" h="1247">
                  <a:moveTo>
                    <a:pt x="966" y="1247"/>
                  </a:moveTo>
                  <a:lnTo>
                    <a:pt x="966" y="1247"/>
                  </a:lnTo>
                  <a:lnTo>
                    <a:pt x="351" y="581"/>
                  </a:lnTo>
                  <a:cubicBezTo>
                    <a:pt x="350" y="580"/>
                    <a:pt x="350" y="579"/>
                    <a:pt x="349" y="579"/>
                  </a:cubicBezTo>
                  <a:lnTo>
                    <a:pt x="16" y="271"/>
                  </a:lnTo>
                  <a:cubicBezTo>
                    <a:pt x="2" y="258"/>
                    <a:pt x="0" y="236"/>
                    <a:pt x="12" y="221"/>
                  </a:cubicBezTo>
                  <a:lnTo>
                    <a:pt x="176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Freeform 41">
              <a:extLst>
                <a:ext uri="{FF2B5EF4-FFF2-40B4-BE49-F238E27FC236}">
                  <a16:creationId xmlns="" xmlns:a16="http://schemas.microsoft.com/office/drawing/2014/main" id="{AAC920F2-3AA0-41FA-BAF1-4010D9845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7151" y="4916488"/>
              <a:ext cx="633413" cy="309563"/>
            </a:xfrm>
            <a:custGeom>
              <a:avLst/>
              <a:gdLst>
                <a:gd name="T0" fmla="*/ 1100 w 1124"/>
                <a:gd name="T1" fmla="*/ 459 h 550"/>
                <a:gd name="T2" fmla="*/ 1100 w 1124"/>
                <a:gd name="T3" fmla="*/ 459 h 550"/>
                <a:gd name="T4" fmla="*/ 1119 w 1124"/>
                <a:gd name="T5" fmla="*/ 357 h 550"/>
                <a:gd name="T6" fmla="*/ 1087 w 1124"/>
                <a:gd name="T7" fmla="*/ 301 h 550"/>
                <a:gd name="T8" fmla="*/ 743 w 1124"/>
                <a:gd name="T9" fmla="*/ 185 h 550"/>
                <a:gd name="T10" fmla="*/ 472 w 1124"/>
                <a:gd name="T11" fmla="*/ 79 h 550"/>
                <a:gd name="T12" fmla="*/ 465 w 1124"/>
                <a:gd name="T13" fmla="*/ 77 h 550"/>
                <a:gd name="T14" fmla="*/ 220 w 1124"/>
                <a:gd name="T15" fmla="*/ 21 h 550"/>
                <a:gd name="T16" fmla="*/ 215 w 1124"/>
                <a:gd name="T17" fmla="*/ 20 h 550"/>
                <a:gd name="T18" fmla="*/ 62 w 1124"/>
                <a:gd name="T19" fmla="*/ 2 h 550"/>
                <a:gd name="T20" fmla="*/ 31 w 1124"/>
                <a:gd name="T21" fmla="*/ 8 h 550"/>
                <a:gd name="T22" fmla="*/ 31 w 1124"/>
                <a:gd name="T23" fmla="*/ 91 h 550"/>
                <a:gd name="T24" fmla="*/ 129 w 1124"/>
                <a:gd name="T25" fmla="*/ 152 h 550"/>
                <a:gd name="T26" fmla="*/ 148 w 1124"/>
                <a:gd name="T27" fmla="*/ 173 h 550"/>
                <a:gd name="T28" fmla="*/ 326 w 1124"/>
                <a:gd name="T29" fmla="*/ 55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24" h="550">
                  <a:moveTo>
                    <a:pt x="1100" y="459"/>
                  </a:moveTo>
                  <a:lnTo>
                    <a:pt x="1100" y="459"/>
                  </a:lnTo>
                  <a:lnTo>
                    <a:pt x="1119" y="357"/>
                  </a:lnTo>
                  <a:cubicBezTo>
                    <a:pt x="1124" y="333"/>
                    <a:pt x="1110" y="309"/>
                    <a:pt x="1087" y="301"/>
                  </a:cubicBezTo>
                  <a:lnTo>
                    <a:pt x="743" y="185"/>
                  </a:lnTo>
                  <a:lnTo>
                    <a:pt x="472" y="79"/>
                  </a:lnTo>
                  <a:cubicBezTo>
                    <a:pt x="469" y="79"/>
                    <a:pt x="467" y="78"/>
                    <a:pt x="465" y="77"/>
                  </a:cubicBezTo>
                  <a:lnTo>
                    <a:pt x="220" y="21"/>
                  </a:lnTo>
                  <a:cubicBezTo>
                    <a:pt x="218" y="21"/>
                    <a:pt x="217" y="20"/>
                    <a:pt x="215" y="20"/>
                  </a:cubicBezTo>
                  <a:lnTo>
                    <a:pt x="62" y="2"/>
                  </a:lnTo>
                  <a:cubicBezTo>
                    <a:pt x="51" y="0"/>
                    <a:pt x="40" y="3"/>
                    <a:pt x="31" y="8"/>
                  </a:cubicBezTo>
                  <a:cubicBezTo>
                    <a:pt x="0" y="27"/>
                    <a:pt x="0" y="72"/>
                    <a:pt x="31" y="91"/>
                  </a:cubicBezTo>
                  <a:lnTo>
                    <a:pt x="129" y="152"/>
                  </a:lnTo>
                  <a:cubicBezTo>
                    <a:pt x="137" y="157"/>
                    <a:pt x="144" y="164"/>
                    <a:pt x="148" y="173"/>
                  </a:cubicBezTo>
                  <a:lnTo>
                    <a:pt x="326" y="55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" name="Freeform 42">
              <a:extLst>
                <a:ext uri="{FF2B5EF4-FFF2-40B4-BE49-F238E27FC236}">
                  <a16:creationId xmlns="" xmlns:a16="http://schemas.microsoft.com/office/drawing/2014/main" id="{321A83E5-0255-428D-883F-DEAA91CEF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2238" y="5135563"/>
              <a:ext cx="80963" cy="77788"/>
            </a:xfrm>
            <a:custGeom>
              <a:avLst/>
              <a:gdLst>
                <a:gd name="T0" fmla="*/ 0 w 144"/>
                <a:gd name="T1" fmla="*/ 140 h 140"/>
                <a:gd name="T2" fmla="*/ 0 w 144"/>
                <a:gd name="T3" fmla="*/ 140 h 140"/>
                <a:gd name="T4" fmla="*/ 144 w 144"/>
                <a:gd name="T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4" h="140">
                  <a:moveTo>
                    <a:pt x="0" y="140"/>
                  </a:moveTo>
                  <a:lnTo>
                    <a:pt x="0" y="140"/>
                  </a:lnTo>
                  <a:lnTo>
                    <a:pt x="144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" name="Freeform 43">
              <a:extLst>
                <a:ext uri="{FF2B5EF4-FFF2-40B4-BE49-F238E27FC236}">
                  <a16:creationId xmlns="" xmlns:a16="http://schemas.microsoft.com/office/drawing/2014/main" id="{E00E5ECF-24C0-4913-886C-51B6A1870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0826" y="4972050"/>
              <a:ext cx="93663" cy="87313"/>
            </a:xfrm>
            <a:custGeom>
              <a:avLst/>
              <a:gdLst>
                <a:gd name="T0" fmla="*/ 0 w 168"/>
                <a:gd name="T1" fmla="*/ 155 h 155"/>
                <a:gd name="T2" fmla="*/ 0 w 168"/>
                <a:gd name="T3" fmla="*/ 155 h 155"/>
                <a:gd name="T4" fmla="*/ 168 w 168"/>
                <a:gd name="T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8" h="155">
                  <a:moveTo>
                    <a:pt x="0" y="155"/>
                  </a:moveTo>
                  <a:lnTo>
                    <a:pt x="0" y="155"/>
                  </a:lnTo>
                  <a:lnTo>
                    <a:pt x="168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" name="Freeform 44">
              <a:extLst>
                <a:ext uri="{FF2B5EF4-FFF2-40B4-BE49-F238E27FC236}">
                  <a16:creationId xmlns="" xmlns:a16="http://schemas.microsoft.com/office/drawing/2014/main" id="{22451605-BF5C-4385-9EB4-175AE2F6B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5676" y="4972050"/>
              <a:ext cx="392113" cy="214313"/>
            </a:xfrm>
            <a:custGeom>
              <a:avLst/>
              <a:gdLst>
                <a:gd name="T0" fmla="*/ 697 w 697"/>
                <a:gd name="T1" fmla="*/ 0 h 379"/>
                <a:gd name="T2" fmla="*/ 697 w 697"/>
                <a:gd name="T3" fmla="*/ 0 h 379"/>
                <a:gd name="T4" fmla="*/ 485 w 697"/>
                <a:gd name="T5" fmla="*/ 282 h 379"/>
                <a:gd name="T6" fmla="*/ 457 w 697"/>
                <a:gd name="T7" fmla="*/ 297 h 379"/>
                <a:gd name="T8" fmla="*/ 88 w 697"/>
                <a:gd name="T9" fmla="*/ 309 h 379"/>
                <a:gd name="T10" fmla="*/ 63 w 697"/>
                <a:gd name="T11" fmla="*/ 319 h 379"/>
                <a:gd name="T12" fmla="*/ 0 w 697"/>
                <a:gd name="T13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7" h="379">
                  <a:moveTo>
                    <a:pt x="697" y="0"/>
                  </a:moveTo>
                  <a:lnTo>
                    <a:pt x="697" y="0"/>
                  </a:lnTo>
                  <a:lnTo>
                    <a:pt x="485" y="282"/>
                  </a:lnTo>
                  <a:cubicBezTo>
                    <a:pt x="478" y="291"/>
                    <a:pt x="468" y="296"/>
                    <a:pt x="457" y="297"/>
                  </a:cubicBezTo>
                  <a:lnTo>
                    <a:pt x="88" y="309"/>
                  </a:lnTo>
                  <a:cubicBezTo>
                    <a:pt x="79" y="309"/>
                    <a:pt x="70" y="313"/>
                    <a:pt x="63" y="319"/>
                  </a:cubicBezTo>
                  <a:lnTo>
                    <a:pt x="0" y="379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" name="Freeform 45">
              <a:extLst>
                <a:ext uri="{FF2B5EF4-FFF2-40B4-BE49-F238E27FC236}">
                  <a16:creationId xmlns="" xmlns:a16="http://schemas.microsoft.com/office/drawing/2014/main" id="{30D57A0D-25B2-45E2-8B48-A7BAF3451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1226" y="4884738"/>
              <a:ext cx="568325" cy="574675"/>
            </a:xfrm>
            <a:custGeom>
              <a:avLst/>
              <a:gdLst>
                <a:gd name="T0" fmla="*/ 0 w 1008"/>
                <a:gd name="T1" fmla="*/ 0 h 1018"/>
                <a:gd name="T2" fmla="*/ 0 w 1008"/>
                <a:gd name="T3" fmla="*/ 0 h 1018"/>
                <a:gd name="T4" fmla="*/ 208 w 1008"/>
                <a:gd name="T5" fmla="*/ 207 h 1018"/>
                <a:gd name="T6" fmla="*/ 214 w 1008"/>
                <a:gd name="T7" fmla="*/ 216 h 1018"/>
                <a:gd name="T8" fmla="*/ 301 w 1008"/>
                <a:gd name="T9" fmla="*/ 376 h 1018"/>
                <a:gd name="T10" fmla="*/ 305 w 1008"/>
                <a:gd name="T11" fmla="*/ 382 h 1018"/>
                <a:gd name="T12" fmla="*/ 778 w 1008"/>
                <a:gd name="T13" fmla="*/ 967 h 1018"/>
                <a:gd name="T14" fmla="*/ 801 w 1008"/>
                <a:gd name="T15" fmla="*/ 981 h 1018"/>
                <a:gd name="T16" fmla="*/ 1008 w 1008"/>
                <a:gd name="T17" fmla="*/ 1018 h 1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8" h="1018">
                  <a:moveTo>
                    <a:pt x="0" y="0"/>
                  </a:moveTo>
                  <a:lnTo>
                    <a:pt x="0" y="0"/>
                  </a:lnTo>
                  <a:lnTo>
                    <a:pt x="208" y="207"/>
                  </a:lnTo>
                  <a:cubicBezTo>
                    <a:pt x="210" y="210"/>
                    <a:pt x="212" y="213"/>
                    <a:pt x="214" y="216"/>
                  </a:cubicBezTo>
                  <a:lnTo>
                    <a:pt x="301" y="376"/>
                  </a:lnTo>
                  <a:cubicBezTo>
                    <a:pt x="302" y="378"/>
                    <a:pt x="303" y="380"/>
                    <a:pt x="305" y="382"/>
                  </a:cubicBezTo>
                  <a:lnTo>
                    <a:pt x="778" y="967"/>
                  </a:lnTo>
                  <a:cubicBezTo>
                    <a:pt x="784" y="974"/>
                    <a:pt x="792" y="979"/>
                    <a:pt x="801" y="981"/>
                  </a:cubicBezTo>
                  <a:lnTo>
                    <a:pt x="1008" y="1018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" name="Freeform 46">
              <a:extLst>
                <a:ext uri="{FF2B5EF4-FFF2-40B4-BE49-F238E27FC236}">
                  <a16:creationId xmlns="" xmlns:a16="http://schemas.microsoft.com/office/drawing/2014/main" id="{DF41F169-F3B7-477F-81C9-8D10F6773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2188" y="3311525"/>
              <a:ext cx="101600" cy="315913"/>
            </a:xfrm>
            <a:custGeom>
              <a:avLst/>
              <a:gdLst>
                <a:gd name="T0" fmla="*/ 0 w 180"/>
                <a:gd name="T1" fmla="*/ 0 h 562"/>
                <a:gd name="T2" fmla="*/ 0 w 180"/>
                <a:gd name="T3" fmla="*/ 0 h 562"/>
                <a:gd name="T4" fmla="*/ 34 w 180"/>
                <a:gd name="T5" fmla="*/ 382 h 562"/>
                <a:gd name="T6" fmla="*/ 43 w 180"/>
                <a:gd name="T7" fmla="*/ 403 h 562"/>
                <a:gd name="T8" fmla="*/ 180 w 180"/>
                <a:gd name="T9" fmla="*/ 562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562">
                  <a:moveTo>
                    <a:pt x="0" y="0"/>
                  </a:moveTo>
                  <a:lnTo>
                    <a:pt x="0" y="0"/>
                  </a:lnTo>
                  <a:lnTo>
                    <a:pt x="34" y="382"/>
                  </a:lnTo>
                  <a:cubicBezTo>
                    <a:pt x="34" y="389"/>
                    <a:pt x="38" y="397"/>
                    <a:pt x="43" y="403"/>
                  </a:cubicBezTo>
                  <a:lnTo>
                    <a:pt x="180" y="562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" name="Freeform 47">
              <a:extLst>
                <a:ext uri="{FF2B5EF4-FFF2-40B4-BE49-F238E27FC236}">
                  <a16:creationId xmlns="" xmlns:a16="http://schemas.microsoft.com/office/drawing/2014/main" id="{5A2D7798-6848-4715-A15D-857F5E207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0788" y="3444875"/>
              <a:ext cx="207963" cy="220663"/>
            </a:xfrm>
            <a:custGeom>
              <a:avLst/>
              <a:gdLst>
                <a:gd name="T0" fmla="*/ 0 w 369"/>
                <a:gd name="T1" fmla="*/ 0 h 393"/>
                <a:gd name="T2" fmla="*/ 0 w 369"/>
                <a:gd name="T3" fmla="*/ 0 h 393"/>
                <a:gd name="T4" fmla="*/ 369 w 369"/>
                <a:gd name="T5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9" h="393">
                  <a:moveTo>
                    <a:pt x="0" y="0"/>
                  </a:moveTo>
                  <a:lnTo>
                    <a:pt x="0" y="0"/>
                  </a:lnTo>
                  <a:lnTo>
                    <a:pt x="369" y="393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" name="Freeform 48">
              <a:extLst>
                <a:ext uri="{FF2B5EF4-FFF2-40B4-BE49-F238E27FC236}">
                  <a16:creationId xmlns="" xmlns:a16="http://schemas.microsoft.com/office/drawing/2014/main" id="{660A907F-CA7B-40B0-B9E6-87A677E69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1076" y="3730625"/>
              <a:ext cx="1452563" cy="246063"/>
            </a:xfrm>
            <a:custGeom>
              <a:avLst/>
              <a:gdLst>
                <a:gd name="T0" fmla="*/ 0 w 2577"/>
                <a:gd name="T1" fmla="*/ 0 h 434"/>
                <a:gd name="T2" fmla="*/ 0 w 2577"/>
                <a:gd name="T3" fmla="*/ 0 h 434"/>
                <a:gd name="T4" fmla="*/ 458 w 2577"/>
                <a:gd name="T5" fmla="*/ 423 h 434"/>
                <a:gd name="T6" fmla="*/ 489 w 2577"/>
                <a:gd name="T7" fmla="*/ 432 h 434"/>
                <a:gd name="T8" fmla="*/ 2470 w 2577"/>
                <a:gd name="T9" fmla="*/ 146 h 434"/>
                <a:gd name="T10" fmla="*/ 2510 w 2577"/>
                <a:gd name="T11" fmla="*/ 169 h 434"/>
                <a:gd name="T12" fmla="*/ 2577 w 2577"/>
                <a:gd name="T13" fmla="*/ 328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7" h="434">
                  <a:moveTo>
                    <a:pt x="0" y="0"/>
                  </a:moveTo>
                  <a:lnTo>
                    <a:pt x="0" y="0"/>
                  </a:lnTo>
                  <a:lnTo>
                    <a:pt x="458" y="423"/>
                  </a:lnTo>
                  <a:cubicBezTo>
                    <a:pt x="467" y="430"/>
                    <a:pt x="478" y="434"/>
                    <a:pt x="489" y="432"/>
                  </a:cubicBezTo>
                  <a:lnTo>
                    <a:pt x="2470" y="146"/>
                  </a:lnTo>
                  <a:cubicBezTo>
                    <a:pt x="2487" y="144"/>
                    <a:pt x="2503" y="153"/>
                    <a:pt x="2510" y="169"/>
                  </a:cubicBezTo>
                  <a:lnTo>
                    <a:pt x="2577" y="328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" name="Freeform 49">
              <a:extLst>
                <a:ext uri="{FF2B5EF4-FFF2-40B4-BE49-F238E27FC236}">
                  <a16:creationId xmlns="" xmlns:a16="http://schemas.microsoft.com/office/drawing/2014/main" id="{486C9D85-87FF-4451-805A-388159E4A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2601" y="3852863"/>
              <a:ext cx="55563" cy="214313"/>
            </a:xfrm>
            <a:custGeom>
              <a:avLst/>
              <a:gdLst>
                <a:gd name="T0" fmla="*/ 0 w 100"/>
                <a:gd name="T1" fmla="*/ 0 h 379"/>
                <a:gd name="T2" fmla="*/ 0 w 100"/>
                <a:gd name="T3" fmla="*/ 0 h 379"/>
                <a:gd name="T4" fmla="*/ 0 w 100"/>
                <a:gd name="T5" fmla="*/ 169 h 379"/>
                <a:gd name="T6" fmla="*/ 4 w 100"/>
                <a:gd name="T7" fmla="*/ 185 h 379"/>
                <a:gd name="T8" fmla="*/ 100 w 100"/>
                <a:gd name="T9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379">
                  <a:moveTo>
                    <a:pt x="0" y="0"/>
                  </a:moveTo>
                  <a:lnTo>
                    <a:pt x="0" y="0"/>
                  </a:lnTo>
                  <a:lnTo>
                    <a:pt x="0" y="169"/>
                  </a:lnTo>
                  <a:cubicBezTo>
                    <a:pt x="0" y="175"/>
                    <a:pt x="1" y="180"/>
                    <a:pt x="4" y="185"/>
                  </a:cubicBezTo>
                  <a:lnTo>
                    <a:pt x="100" y="379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" name="Freeform 50">
              <a:extLst>
                <a:ext uri="{FF2B5EF4-FFF2-40B4-BE49-F238E27FC236}">
                  <a16:creationId xmlns="" xmlns:a16="http://schemas.microsoft.com/office/drawing/2014/main" id="{BEF5AA9E-A24A-4A38-A083-A61749F07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1" y="3816350"/>
              <a:ext cx="0" cy="271463"/>
            </a:xfrm>
            <a:custGeom>
              <a:avLst/>
              <a:gdLst>
                <a:gd name="T0" fmla="*/ 0 h 482"/>
                <a:gd name="T1" fmla="*/ 0 h 482"/>
                <a:gd name="T2" fmla="*/ 482 h 48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82">
                  <a:moveTo>
                    <a:pt x="0" y="0"/>
                  </a:moveTo>
                  <a:lnTo>
                    <a:pt x="0" y="0"/>
                  </a:lnTo>
                  <a:lnTo>
                    <a:pt x="0" y="482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" name="Freeform 51">
              <a:extLst>
                <a:ext uri="{FF2B5EF4-FFF2-40B4-BE49-F238E27FC236}">
                  <a16:creationId xmlns="" xmlns:a16="http://schemas.microsoft.com/office/drawing/2014/main" id="{052D1AA1-3F52-4766-8CAA-02154310E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6188" y="3976688"/>
              <a:ext cx="9525" cy="374650"/>
            </a:xfrm>
            <a:custGeom>
              <a:avLst/>
              <a:gdLst>
                <a:gd name="T0" fmla="*/ 0 w 17"/>
                <a:gd name="T1" fmla="*/ 0 h 665"/>
                <a:gd name="T2" fmla="*/ 0 w 17"/>
                <a:gd name="T3" fmla="*/ 0 h 665"/>
                <a:gd name="T4" fmla="*/ 17 w 17"/>
                <a:gd name="T5" fmla="*/ 665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665">
                  <a:moveTo>
                    <a:pt x="0" y="0"/>
                  </a:moveTo>
                  <a:lnTo>
                    <a:pt x="0" y="0"/>
                  </a:lnTo>
                  <a:lnTo>
                    <a:pt x="17" y="665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" name="Freeform 52">
              <a:extLst>
                <a:ext uri="{FF2B5EF4-FFF2-40B4-BE49-F238E27FC236}">
                  <a16:creationId xmlns="" xmlns:a16="http://schemas.microsoft.com/office/drawing/2014/main" id="{60EC7857-B904-4B2A-A0E5-62D578543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3163" y="2894013"/>
              <a:ext cx="71438" cy="104775"/>
            </a:xfrm>
            <a:custGeom>
              <a:avLst/>
              <a:gdLst>
                <a:gd name="T0" fmla="*/ 0 w 128"/>
                <a:gd name="T1" fmla="*/ 0 h 186"/>
                <a:gd name="T2" fmla="*/ 0 w 128"/>
                <a:gd name="T3" fmla="*/ 0 h 186"/>
                <a:gd name="T4" fmla="*/ 128 w 128"/>
                <a:gd name="T5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8" h="186">
                  <a:moveTo>
                    <a:pt x="0" y="0"/>
                  </a:moveTo>
                  <a:lnTo>
                    <a:pt x="0" y="0"/>
                  </a:lnTo>
                  <a:lnTo>
                    <a:pt x="128" y="186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" name="Freeform 53">
              <a:extLst>
                <a:ext uri="{FF2B5EF4-FFF2-40B4-BE49-F238E27FC236}">
                  <a16:creationId xmlns="" xmlns:a16="http://schemas.microsoft.com/office/drawing/2014/main" id="{CB993925-FADC-490D-B55B-6F4FA84D8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2838" y="2949575"/>
              <a:ext cx="71438" cy="79375"/>
            </a:xfrm>
            <a:custGeom>
              <a:avLst/>
              <a:gdLst>
                <a:gd name="T0" fmla="*/ 0 w 126"/>
                <a:gd name="T1" fmla="*/ 0 h 139"/>
                <a:gd name="T2" fmla="*/ 0 w 126"/>
                <a:gd name="T3" fmla="*/ 0 h 139"/>
                <a:gd name="T4" fmla="*/ 126 w 126"/>
                <a:gd name="T5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6" h="139">
                  <a:moveTo>
                    <a:pt x="0" y="0"/>
                  </a:moveTo>
                  <a:lnTo>
                    <a:pt x="0" y="0"/>
                  </a:lnTo>
                  <a:lnTo>
                    <a:pt x="126" y="139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" name="Freeform 54">
              <a:extLst>
                <a:ext uri="{FF2B5EF4-FFF2-40B4-BE49-F238E27FC236}">
                  <a16:creationId xmlns="" xmlns:a16="http://schemas.microsoft.com/office/drawing/2014/main" id="{26B6DFA9-DD6C-476F-B7D4-32069A948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6163" y="3057525"/>
              <a:ext cx="63500" cy="60325"/>
            </a:xfrm>
            <a:custGeom>
              <a:avLst/>
              <a:gdLst>
                <a:gd name="T0" fmla="*/ 114 w 114"/>
                <a:gd name="T1" fmla="*/ 108 h 108"/>
                <a:gd name="T2" fmla="*/ 114 w 114"/>
                <a:gd name="T3" fmla="*/ 108 h 108"/>
                <a:gd name="T4" fmla="*/ 0 w 114"/>
                <a:gd name="T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4" h="108">
                  <a:moveTo>
                    <a:pt x="114" y="108"/>
                  </a:moveTo>
                  <a:lnTo>
                    <a:pt x="114" y="108"/>
                  </a:lnTo>
                  <a:lnTo>
                    <a:pt x="0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" name="Freeform 55">
              <a:extLst>
                <a:ext uri="{FF2B5EF4-FFF2-40B4-BE49-F238E27FC236}">
                  <a16:creationId xmlns="" xmlns:a16="http://schemas.microsoft.com/office/drawing/2014/main" id="{185C2259-92FE-4F99-9A59-95AE7E556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0751" y="3111500"/>
              <a:ext cx="101600" cy="169863"/>
            </a:xfrm>
            <a:custGeom>
              <a:avLst/>
              <a:gdLst>
                <a:gd name="T0" fmla="*/ 0 w 179"/>
                <a:gd name="T1" fmla="*/ 0 h 302"/>
                <a:gd name="T2" fmla="*/ 0 w 179"/>
                <a:gd name="T3" fmla="*/ 0 h 302"/>
                <a:gd name="T4" fmla="*/ 179 w 179"/>
                <a:gd name="T5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9" h="302">
                  <a:moveTo>
                    <a:pt x="0" y="0"/>
                  </a:moveTo>
                  <a:lnTo>
                    <a:pt x="0" y="0"/>
                  </a:lnTo>
                  <a:lnTo>
                    <a:pt x="179" y="302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" name="Freeform 56">
              <a:extLst>
                <a:ext uri="{FF2B5EF4-FFF2-40B4-BE49-F238E27FC236}">
                  <a16:creationId xmlns="" xmlns:a16="http://schemas.microsoft.com/office/drawing/2014/main" id="{D068738A-4B4F-4FFB-A46E-35102F998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876" y="3140075"/>
              <a:ext cx="623888" cy="438150"/>
            </a:xfrm>
            <a:custGeom>
              <a:avLst/>
              <a:gdLst>
                <a:gd name="T0" fmla="*/ 1105 w 1105"/>
                <a:gd name="T1" fmla="*/ 0 h 777"/>
                <a:gd name="T2" fmla="*/ 1105 w 1105"/>
                <a:gd name="T3" fmla="*/ 0 h 777"/>
                <a:gd name="T4" fmla="*/ 845 w 1105"/>
                <a:gd name="T5" fmla="*/ 211 h 777"/>
                <a:gd name="T6" fmla="*/ 836 w 1105"/>
                <a:gd name="T7" fmla="*/ 222 h 777"/>
                <a:gd name="T8" fmla="*/ 749 w 1105"/>
                <a:gd name="T9" fmla="*/ 373 h 777"/>
                <a:gd name="T10" fmla="*/ 737 w 1105"/>
                <a:gd name="T11" fmla="*/ 386 h 777"/>
                <a:gd name="T12" fmla="*/ 685 w 1105"/>
                <a:gd name="T13" fmla="*/ 420 h 777"/>
                <a:gd name="T14" fmla="*/ 673 w 1105"/>
                <a:gd name="T15" fmla="*/ 469 h 777"/>
                <a:gd name="T16" fmla="*/ 731 w 1105"/>
                <a:gd name="T17" fmla="*/ 581 h 777"/>
                <a:gd name="T18" fmla="*/ 716 w 1105"/>
                <a:gd name="T19" fmla="*/ 630 h 777"/>
                <a:gd name="T20" fmla="*/ 630 w 1105"/>
                <a:gd name="T21" fmla="*/ 680 h 777"/>
                <a:gd name="T22" fmla="*/ 616 w 1105"/>
                <a:gd name="T23" fmla="*/ 684 h 777"/>
                <a:gd name="T24" fmla="*/ 298 w 1105"/>
                <a:gd name="T25" fmla="*/ 718 h 777"/>
                <a:gd name="T26" fmla="*/ 69 w 1105"/>
                <a:gd name="T27" fmla="*/ 772 h 777"/>
                <a:gd name="T28" fmla="*/ 25 w 1105"/>
                <a:gd name="T29" fmla="*/ 748 h 777"/>
                <a:gd name="T30" fmla="*/ 5 w 1105"/>
                <a:gd name="T31" fmla="*/ 691 h 777"/>
                <a:gd name="T32" fmla="*/ 20 w 1105"/>
                <a:gd name="T33" fmla="*/ 648 h 777"/>
                <a:gd name="T34" fmla="*/ 136 w 1105"/>
                <a:gd name="T35" fmla="*/ 573 h 777"/>
                <a:gd name="T36" fmla="*/ 152 w 1105"/>
                <a:gd name="T37" fmla="*/ 548 h 777"/>
                <a:gd name="T38" fmla="*/ 179 w 1105"/>
                <a:gd name="T39" fmla="*/ 395 h 777"/>
                <a:gd name="T40" fmla="*/ 201 w 1105"/>
                <a:gd name="T41" fmla="*/ 367 h 777"/>
                <a:gd name="T42" fmla="*/ 339 w 1105"/>
                <a:gd name="T43" fmla="*/ 307 h 777"/>
                <a:gd name="T44" fmla="*/ 364 w 1105"/>
                <a:gd name="T45" fmla="*/ 305 h 777"/>
                <a:gd name="T46" fmla="*/ 554 w 1105"/>
                <a:gd name="T47" fmla="*/ 360 h 777"/>
                <a:gd name="T48" fmla="*/ 567 w 1105"/>
                <a:gd name="T49" fmla="*/ 367 h 777"/>
                <a:gd name="T50" fmla="*/ 672 w 1105"/>
                <a:gd name="T51" fmla="*/ 451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05" h="777">
                  <a:moveTo>
                    <a:pt x="1105" y="0"/>
                  </a:moveTo>
                  <a:lnTo>
                    <a:pt x="1105" y="0"/>
                  </a:lnTo>
                  <a:lnTo>
                    <a:pt x="845" y="211"/>
                  </a:lnTo>
                  <a:cubicBezTo>
                    <a:pt x="841" y="214"/>
                    <a:pt x="838" y="218"/>
                    <a:pt x="836" y="222"/>
                  </a:cubicBezTo>
                  <a:lnTo>
                    <a:pt x="749" y="373"/>
                  </a:lnTo>
                  <a:cubicBezTo>
                    <a:pt x="746" y="378"/>
                    <a:pt x="742" y="383"/>
                    <a:pt x="737" y="386"/>
                  </a:cubicBezTo>
                  <a:lnTo>
                    <a:pt x="685" y="420"/>
                  </a:lnTo>
                  <a:cubicBezTo>
                    <a:pt x="670" y="431"/>
                    <a:pt x="664" y="452"/>
                    <a:pt x="673" y="469"/>
                  </a:cubicBezTo>
                  <a:lnTo>
                    <a:pt x="731" y="581"/>
                  </a:lnTo>
                  <a:cubicBezTo>
                    <a:pt x="740" y="599"/>
                    <a:pt x="733" y="620"/>
                    <a:pt x="716" y="630"/>
                  </a:cubicBezTo>
                  <a:lnTo>
                    <a:pt x="630" y="680"/>
                  </a:lnTo>
                  <a:cubicBezTo>
                    <a:pt x="626" y="682"/>
                    <a:pt x="621" y="684"/>
                    <a:pt x="616" y="684"/>
                  </a:cubicBezTo>
                  <a:cubicBezTo>
                    <a:pt x="569" y="690"/>
                    <a:pt x="323" y="717"/>
                    <a:pt x="298" y="718"/>
                  </a:cubicBezTo>
                  <a:cubicBezTo>
                    <a:pt x="278" y="719"/>
                    <a:pt x="135" y="755"/>
                    <a:pt x="69" y="772"/>
                  </a:cubicBezTo>
                  <a:cubicBezTo>
                    <a:pt x="50" y="777"/>
                    <a:pt x="31" y="767"/>
                    <a:pt x="25" y="748"/>
                  </a:cubicBezTo>
                  <a:lnTo>
                    <a:pt x="5" y="691"/>
                  </a:lnTo>
                  <a:cubicBezTo>
                    <a:pt x="0" y="675"/>
                    <a:pt x="6" y="657"/>
                    <a:pt x="20" y="648"/>
                  </a:cubicBezTo>
                  <a:lnTo>
                    <a:pt x="136" y="573"/>
                  </a:lnTo>
                  <a:cubicBezTo>
                    <a:pt x="145" y="568"/>
                    <a:pt x="151" y="559"/>
                    <a:pt x="152" y="548"/>
                  </a:cubicBezTo>
                  <a:lnTo>
                    <a:pt x="179" y="395"/>
                  </a:lnTo>
                  <a:cubicBezTo>
                    <a:pt x="181" y="383"/>
                    <a:pt x="190" y="372"/>
                    <a:pt x="201" y="367"/>
                  </a:cubicBezTo>
                  <a:lnTo>
                    <a:pt x="339" y="307"/>
                  </a:lnTo>
                  <a:cubicBezTo>
                    <a:pt x="347" y="303"/>
                    <a:pt x="356" y="303"/>
                    <a:pt x="364" y="305"/>
                  </a:cubicBezTo>
                  <a:lnTo>
                    <a:pt x="554" y="360"/>
                  </a:lnTo>
                  <a:cubicBezTo>
                    <a:pt x="559" y="361"/>
                    <a:pt x="563" y="364"/>
                    <a:pt x="567" y="367"/>
                  </a:cubicBezTo>
                  <a:lnTo>
                    <a:pt x="672" y="451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" name="Freeform 57">
              <a:extLst>
                <a:ext uri="{FF2B5EF4-FFF2-40B4-BE49-F238E27FC236}">
                  <a16:creationId xmlns="" xmlns:a16="http://schemas.microsoft.com/office/drawing/2014/main" id="{12828EAD-994F-4465-9950-93B1BAE8F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5326" y="3344863"/>
              <a:ext cx="19050" cy="182563"/>
            </a:xfrm>
            <a:custGeom>
              <a:avLst/>
              <a:gdLst>
                <a:gd name="T0" fmla="*/ 34 w 34"/>
                <a:gd name="T1" fmla="*/ 0 h 326"/>
                <a:gd name="T2" fmla="*/ 34 w 34"/>
                <a:gd name="T3" fmla="*/ 0 h 326"/>
                <a:gd name="T4" fmla="*/ 1 w 34"/>
                <a:gd name="T5" fmla="*/ 181 h 326"/>
                <a:gd name="T6" fmla="*/ 1 w 34"/>
                <a:gd name="T7" fmla="*/ 195 h 326"/>
                <a:gd name="T8" fmla="*/ 28 w 34"/>
                <a:gd name="T9" fmla="*/ 3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26">
                  <a:moveTo>
                    <a:pt x="34" y="0"/>
                  </a:moveTo>
                  <a:lnTo>
                    <a:pt x="34" y="0"/>
                  </a:lnTo>
                  <a:lnTo>
                    <a:pt x="1" y="181"/>
                  </a:lnTo>
                  <a:cubicBezTo>
                    <a:pt x="0" y="186"/>
                    <a:pt x="0" y="191"/>
                    <a:pt x="1" y="195"/>
                  </a:cubicBezTo>
                  <a:lnTo>
                    <a:pt x="28" y="326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" name="Freeform 58">
              <a:extLst>
                <a:ext uri="{FF2B5EF4-FFF2-40B4-BE49-F238E27FC236}">
                  <a16:creationId xmlns="" xmlns:a16="http://schemas.microsoft.com/office/drawing/2014/main" id="{B06A86BE-C985-4F08-A321-66879A7E7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2288" y="2811463"/>
              <a:ext cx="850900" cy="685800"/>
            </a:xfrm>
            <a:custGeom>
              <a:avLst/>
              <a:gdLst>
                <a:gd name="T0" fmla="*/ 131 w 1510"/>
                <a:gd name="T1" fmla="*/ 883 h 1214"/>
                <a:gd name="T2" fmla="*/ 131 w 1510"/>
                <a:gd name="T3" fmla="*/ 883 h 1214"/>
                <a:gd name="T4" fmla="*/ 27 w 1510"/>
                <a:gd name="T5" fmla="*/ 1100 h 1214"/>
                <a:gd name="T6" fmla="*/ 106 w 1510"/>
                <a:gd name="T7" fmla="*/ 1202 h 1214"/>
                <a:gd name="T8" fmla="*/ 640 w 1510"/>
                <a:gd name="T9" fmla="*/ 1060 h 1214"/>
                <a:gd name="T10" fmla="*/ 676 w 1510"/>
                <a:gd name="T11" fmla="*/ 1041 h 1214"/>
                <a:gd name="T12" fmla="*/ 1036 w 1510"/>
                <a:gd name="T13" fmla="*/ 677 h 1214"/>
                <a:gd name="T14" fmla="*/ 1055 w 1510"/>
                <a:gd name="T15" fmla="*/ 615 h 1214"/>
                <a:gd name="T16" fmla="*/ 1048 w 1510"/>
                <a:gd name="T17" fmla="*/ 576 h 1214"/>
                <a:gd name="T18" fmla="*/ 1064 w 1510"/>
                <a:gd name="T19" fmla="*/ 518 h 1214"/>
                <a:gd name="T20" fmla="*/ 1164 w 1510"/>
                <a:gd name="T21" fmla="*/ 397 h 1214"/>
                <a:gd name="T22" fmla="*/ 1192 w 1510"/>
                <a:gd name="T23" fmla="*/ 377 h 1214"/>
                <a:gd name="T24" fmla="*/ 1363 w 1510"/>
                <a:gd name="T25" fmla="*/ 307 h 1214"/>
                <a:gd name="T26" fmla="*/ 1402 w 1510"/>
                <a:gd name="T27" fmla="*/ 267 h 1214"/>
                <a:gd name="T28" fmla="*/ 1510 w 1510"/>
                <a:gd name="T29" fmla="*/ 0 h 1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10" h="1214">
                  <a:moveTo>
                    <a:pt x="131" y="883"/>
                  </a:moveTo>
                  <a:lnTo>
                    <a:pt x="131" y="883"/>
                  </a:lnTo>
                  <a:lnTo>
                    <a:pt x="27" y="1100"/>
                  </a:lnTo>
                  <a:cubicBezTo>
                    <a:pt x="0" y="1153"/>
                    <a:pt x="47" y="1214"/>
                    <a:pt x="106" y="1202"/>
                  </a:cubicBezTo>
                  <a:lnTo>
                    <a:pt x="640" y="1060"/>
                  </a:lnTo>
                  <a:cubicBezTo>
                    <a:pt x="654" y="1057"/>
                    <a:pt x="666" y="1051"/>
                    <a:pt x="676" y="1041"/>
                  </a:cubicBezTo>
                  <a:lnTo>
                    <a:pt x="1036" y="677"/>
                  </a:lnTo>
                  <a:cubicBezTo>
                    <a:pt x="1052" y="661"/>
                    <a:pt x="1059" y="637"/>
                    <a:pt x="1055" y="615"/>
                  </a:cubicBezTo>
                  <a:lnTo>
                    <a:pt x="1048" y="576"/>
                  </a:lnTo>
                  <a:cubicBezTo>
                    <a:pt x="1045" y="555"/>
                    <a:pt x="1050" y="534"/>
                    <a:pt x="1064" y="518"/>
                  </a:cubicBezTo>
                  <a:lnTo>
                    <a:pt x="1164" y="397"/>
                  </a:lnTo>
                  <a:cubicBezTo>
                    <a:pt x="1171" y="388"/>
                    <a:pt x="1181" y="381"/>
                    <a:pt x="1192" y="377"/>
                  </a:cubicBezTo>
                  <a:lnTo>
                    <a:pt x="1363" y="307"/>
                  </a:lnTo>
                  <a:cubicBezTo>
                    <a:pt x="1381" y="299"/>
                    <a:pt x="1395" y="285"/>
                    <a:pt x="1402" y="267"/>
                  </a:cubicBezTo>
                  <a:lnTo>
                    <a:pt x="1510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" name="Freeform 59">
              <a:extLst>
                <a:ext uri="{FF2B5EF4-FFF2-40B4-BE49-F238E27FC236}">
                  <a16:creationId xmlns="" xmlns:a16="http://schemas.microsoft.com/office/drawing/2014/main" id="{094B3207-9124-499F-9789-A6EDE4E19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001" y="3478213"/>
              <a:ext cx="663575" cy="407988"/>
            </a:xfrm>
            <a:custGeom>
              <a:avLst/>
              <a:gdLst>
                <a:gd name="T0" fmla="*/ 0 w 1179"/>
                <a:gd name="T1" fmla="*/ 465 h 723"/>
                <a:gd name="T2" fmla="*/ 0 w 1179"/>
                <a:gd name="T3" fmla="*/ 465 h 723"/>
                <a:gd name="T4" fmla="*/ 666 w 1179"/>
                <a:gd name="T5" fmla="*/ 23 h 723"/>
                <a:gd name="T6" fmla="*/ 777 w 1179"/>
                <a:gd name="T7" fmla="*/ 30 h 723"/>
                <a:gd name="T8" fmla="*/ 1179 w 1179"/>
                <a:gd name="T9" fmla="*/ 723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79" h="723">
                  <a:moveTo>
                    <a:pt x="0" y="465"/>
                  </a:moveTo>
                  <a:lnTo>
                    <a:pt x="0" y="465"/>
                  </a:lnTo>
                  <a:lnTo>
                    <a:pt x="666" y="23"/>
                  </a:lnTo>
                  <a:cubicBezTo>
                    <a:pt x="700" y="0"/>
                    <a:pt x="746" y="3"/>
                    <a:pt x="777" y="30"/>
                  </a:cubicBezTo>
                  <a:lnTo>
                    <a:pt x="1179" y="723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" name="Freeform 60">
              <a:extLst>
                <a:ext uri="{FF2B5EF4-FFF2-40B4-BE49-F238E27FC236}">
                  <a16:creationId xmlns="" xmlns:a16="http://schemas.microsoft.com/office/drawing/2014/main" id="{F2580C3A-3D9B-4541-8790-6D1FD6366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5913" y="3406775"/>
              <a:ext cx="174625" cy="25400"/>
            </a:xfrm>
            <a:custGeom>
              <a:avLst/>
              <a:gdLst>
                <a:gd name="T0" fmla="*/ 0 w 311"/>
                <a:gd name="T1" fmla="*/ 44 h 44"/>
                <a:gd name="T2" fmla="*/ 0 w 311"/>
                <a:gd name="T3" fmla="*/ 44 h 44"/>
                <a:gd name="T4" fmla="*/ 311 w 311"/>
                <a:gd name="T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1" h="44">
                  <a:moveTo>
                    <a:pt x="0" y="44"/>
                  </a:moveTo>
                  <a:lnTo>
                    <a:pt x="0" y="44"/>
                  </a:lnTo>
                  <a:lnTo>
                    <a:pt x="311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" name="Freeform 61">
              <a:extLst>
                <a:ext uri="{FF2B5EF4-FFF2-40B4-BE49-F238E27FC236}">
                  <a16:creationId xmlns="" xmlns:a16="http://schemas.microsoft.com/office/drawing/2014/main" id="{BA2C2A8D-C9EE-4AA1-B7FA-81886C472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0188" y="3489325"/>
              <a:ext cx="495300" cy="719138"/>
            </a:xfrm>
            <a:custGeom>
              <a:avLst/>
              <a:gdLst>
                <a:gd name="T0" fmla="*/ 0 w 879"/>
                <a:gd name="T1" fmla="*/ 0 h 1274"/>
                <a:gd name="T2" fmla="*/ 0 w 879"/>
                <a:gd name="T3" fmla="*/ 0 h 1274"/>
                <a:gd name="T4" fmla="*/ 289 w 879"/>
                <a:gd name="T5" fmla="*/ 324 h 1274"/>
                <a:gd name="T6" fmla="*/ 792 w 879"/>
                <a:gd name="T7" fmla="*/ 838 h 1274"/>
                <a:gd name="T8" fmla="*/ 799 w 879"/>
                <a:gd name="T9" fmla="*/ 848 h 1274"/>
                <a:gd name="T10" fmla="*/ 857 w 879"/>
                <a:gd name="T11" fmla="*/ 966 h 1274"/>
                <a:gd name="T12" fmla="*/ 861 w 879"/>
                <a:gd name="T13" fmla="*/ 975 h 1274"/>
                <a:gd name="T14" fmla="*/ 878 w 879"/>
                <a:gd name="T15" fmla="*/ 1066 h 1274"/>
                <a:gd name="T16" fmla="*/ 877 w 879"/>
                <a:gd name="T17" fmla="*/ 1084 h 1274"/>
                <a:gd name="T18" fmla="*/ 838 w 879"/>
                <a:gd name="T19" fmla="*/ 1200 h 1274"/>
                <a:gd name="T20" fmla="*/ 821 w 879"/>
                <a:gd name="T21" fmla="*/ 1221 h 1274"/>
                <a:gd name="T22" fmla="*/ 738 w 879"/>
                <a:gd name="T23" fmla="*/ 1269 h 1274"/>
                <a:gd name="T24" fmla="*/ 721 w 879"/>
                <a:gd name="T25" fmla="*/ 1274 h 1274"/>
                <a:gd name="T26" fmla="*/ 581 w 879"/>
                <a:gd name="T27" fmla="*/ 1250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9" h="1274">
                  <a:moveTo>
                    <a:pt x="0" y="0"/>
                  </a:moveTo>
                  <a:lnTo>
                    <a:pt x="0" y="0"/>
                  </a:lnTo>
                  <a:cubicBezTo>
                    <a:pt x="0" y="0"/>
                    <a:pt x="273" y="306"/>
                    <a:pt x="289" y="324"/>
                  </a:cubicBezTo>
                  <a:cubicBezTo>
                    <a:pt x="303" y="340"/>
                    <a:pt x="745" y="790"/>
                    <a:pt x="792" y="838"/>
                  </a:cubicBezTo>
                  <a:cubicBezTo>
                    <a:pt x="795" y="841"/>
                    <a:pt x="797" y="844"/>
                    <a:pt x="799" y="848"/>
                  </a:cubicBezTo>
                  <a:lnTo>
                    <a:pt x="857" y="966"/>
                  </a:lnTo>
                  <a:cubicBezTo>
                    <a:pt x="859" y="969"/>
                    <a:pt x="860" y="972"/>
                    <a:pt x="861" y="975"/>
                  </a:cubicBezTo>
                  <a:lnTo>
                    <a:pt x="878" y="1066"/>
                  </a:lnTo>
                  <a:cubicBezTo>
                    <a:pt x="879" y="1072"/>
                    <a:pt x="879" y="1078"/>
                    <a:pt x="877" y="1084"/>
                  </a:cubicBezTo>
                  <a:lnTo>
                    <a:pt x="838" y="1200"/>
                  </a:lnTo>
                  <a:cubicBezTo>
                    <a:pt x="835" y="1209"/>
                    <a:pt x="829" y="1216"/>
                    <a:pt x="821" y="1221"/>
                  </a:cubicBezTo>
                  <a:lnTo>
                    <a:pt x="738" y="1269"/>
                  </a:lnTo>
                  <a:cubicBezTo>
                    <a:pt x="733" y="1272"/>
                    <a:pt x="727" y="1273"/>
                    <a:pt x="721" y="1274"/>
                  </a:cubicBezTo>
                  <a:lnTo>
                    <a:pt x="581" y="125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" name="Freeform 62">
              <a:extLst>
                <a:ext uri="{FF2B5EF4-FFF2-40B4-BE49-F238E27FC236}">
                  <a16:creationId xmlns="" xmlns:a16="http://schemas.microsoft.com/office/drawing/2014/main" id="{A449332F-3C5E-491F-B2C3-37F8114E1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588" y="3489325"/>
              <a:ext cx="517525" cy="619125"/>
            </a:xfrm>
            <a:custGeom>
              <a:avLst/>
              <a:gdLst>
                <a:gd name="T0" fmla="*/ 756 w 917"/>
                <a:gd name="T1" fmla="*/ 0 h 1098"/>
                <a:gd name="T2" fmla="*/ 756 w 917"/>
                <a:gd name="T3" fmla="*/ 0 h 1098"/>
                <a:gd name="T4" fmla="*/ 721 w 917"/>
                <a:gd name="T5" fmla="*/ 210 h 1098"/>
                <a:gd name="T6" fmla="*/ 724 w 917"/>
                <a:gd name="T7" fmla="*/ 230 h 1098"/>
                <a:gd name="T8" fmla="*/ 865 w 917"/>
                <a:gd name="T9" fmla="*/ 529 h 1098"/>
                <a:gd name="T10" fmla="*/ 912 w 917"/>
                <a:gd name="T11" fmla="*/ 643 h 1098"/>
                <a:gd name="T12" fmla="*/ 909 w 917"/>
                <a:gd name="T13" fmla="*/ 677 h 1098"/>
                <a:gd name="T14" fmla="*/ 663 w 917"/>
                <a:gd name="T15" fmla="*/ 1075 h 1098"/>
                <a:gd name="T16" fmla="*/ 601 w 917"/>
                <a:gd name="T17" fmla="*/ 1077 h 1098"/>
                <a:gd name="T18" fmla="*/ 335 w 917"/>
                <a:gd name="T19" fmla="*/ 698 h 1098"/>
                <a:gd name="T20" fmla="*/ 0 w 917"/>
                <a:gd name="T21" fmla="*/ 269 h 10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7" h="1098">
                  <a:moveTo>
                    <a:pt x="756" y="0"/>
                  </a:moveTo>
                  <a:lnTo>
                    <a:pt x="756" y="0"/>
                  </a:lnTo>
                  <a:lnTo>
                    <a:pt x="721" y="210"/>
                  </a:lnTo>
                  <a:cubicBezTo>
                    <a:pt x="721" y="220"/>
                    <a:pt x="722" y="225"/>
                    <a:pt x="724" y="230"/>
                  </a:cubicBezTo>
                  <a:lnTo>
                    <a:pt x="865" y="529"/>
                  </a:lnTo>
                  <a:lnTo>
                    <a:pt x="912" y="643"/>
                  </a:lnTo>
                  <a:cubicBezTo>
                    <a:pt x="917" y="654"/>
                    <a:pt x="916" y="667"/>
                    <a:pt x="909" y="677"/>
                  </a:cubicBezTo>
                  <a:lnTo>
                    <a:pt x="663" y="1075"/>
                  </a:lnTo>
                  <a:cubicBezTo>
                    <a:pt x="649" y="1097"/>
                    <a:pt x="616" y="1098"/>
                    <a:pt x="601" y="1077"/>
                  </a:cubicBezTo>
                  <a:lnTo>
                    <a:pt x="335" y="698"/>
                  </a:lnTo>
                  <a:lnTo>
                    <a:pt x="0" y="269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" name="Freeform 63">
              <a:extLst>
                <a:ext uri="{FF2B5EF4-FFF2-40B4-BE49-F238E27FC236}">
                  <a16:creationId xmlns="" xmlns:a16="http://schemas.microsoft.com/office/drawing/2014/main" id="{F92B1632-6FD2-49DC-9E46-C6C36683C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838" y="3654425"/>
              <a:ext cx="79375" cy="92075"/>
            </a:xfrm>
            <a:custGeom>
              <a:avLst/>
              <a:gdLst>
                <a:gd name="T0" fmla="*/ 0 w 141"/>
                <a:gd name="T1" fmla="*/ 163 h 163"/>
                <a:gd name="T2" fmla="*/ 0 w 141"/>
                <a:gd name="T3" fmla="*/ 163 h 163"/>
                <a:gd name="T4" fmla="*/ 141 w 141"/>
                <a:gd name="T5" fmla="*/ 0 h 163"/>
                <a:gd name="T6" fmla="*/ 0 w 141"/>
                <a:gd name="T7" fmla="*/ 163 h 163"/>
                <a:gd name="T8" fmla="*/ 0 w 141"/>
                <a:gd name="T9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63">
                  <a:moveTo>
                    <a:pt x="0" y="163"/>
                  </a:moveTo>
                  <a:lnTo>
                    <a:pt x="0" y="163"/>
                  </a:lnTo>
                  <a:lnTo>
                    <a:pt x="141" y="0"/>
                  </a:lnTo>
                  <a:lnTo>
                    <a:pt x="0" y="163"/>
                  </a:lnTo>
                  <a:lnTo>
                    <a:pt x="0" y="163"/>
                  </a:lnTo>
                  <a:close/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" name="Freeform 64">
              <a:extLst>
                <a:ext uri="{FF2B5EF4-FFF2-40B4-BE49-F238E27FC236}">
                  <a16:creationId xmlns="" xmlns:a16="http://schemas.microsoft.com/office/drawing/2014/main" id="{28C47A9B-3539-4DA1-A3E3-D75578242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3076" y="3716338"/>
              <a:ext cx="909638" cy="1231900"/>
            </a:xfrm>
            <a:custGeom>
              <a:avLst/>
              <a:gdLst>
                <a:gd name="T0" fmla="*/ 55 w 1614"/>
                <a:gd name="T1" fmla="*/ 0 h 2183"/>
                <a:gd name="T2" fmla="*/ 55 w 1614"/>
                <a:gd name="T3" fmla="*/ 0 h 2183"/>
                <a:gd name="T4" fmla="*/ 26 w 1614"/>
                <a:gd name="T5" fmla="*/ 34 h 2183"/>
                <a:gd name="T6" fmla="*/ 9 w 1614"/>
                <a:gd name="T7" fmla="*/ 79 h 2183"/>
                <a:gd name="T8" fmla="*/ 0 w 1614"/>
                <a:gd name="T9" fmla="*/ 1097 h 2183"/>
                <a:gd name="T10" fmla="*/ 20 w 1614"/>
                <a:gd name="T11" fmla="*/ 1147 h 2183"/>
                <a:gd name="T12" fmla="*/ 381 w 1614"/>
                <a:gd name="T13" fmla="*/ 1521 h 2183"/>
                <a:gd name="T14" fmla="*/ 397 w 1614"/>
                <a:gd name="T15" fmla="*/ 1533 h 2183"/>
                <a:gd name="T16" fmla="*/ 1023 w 1614"/>
                <a:gd name="T17" fmla="*/ 1883 h 2183"/>
                <a:gd name="T18" fmla="*/ 1056 w 1614"/>
                <a:gd name="T19" fmla="*/ 1927 h 2183"/>
                <a:gd name="T20" fmla="*/ 1098 w 1614"/>
                <a:gd name="T21" fmla="*/ 2082 h 2183"/>
                <a:gd name="T22" fmla="*/ 1150 w 1614"/>
                <a:gd name="T23" fmla="*/ 2132 h 2183"/>
                <a:gd name="T24" fmla="*/ 1342 w 1614"/>
                <a:gd name="T25" fmla="*/ 2180 h 2183"/>
                <a:gd name="T26" fmla="*/ 1379 w 1614"/>
                <a:gd name="T27" fmla="*/ 2179 h 2183"/>
                <a:gd name="T28" fmla="*/ 1379 w 1614"/>
                <a:gd name="T29" fmla="*/ 2179 h 2183"/>
                <a:gd name="T30" fmla="*/ 1389 w 1614"/>
                <a:gd name="T31" fmla="*/ 2046 h 2183"/>
                <a:gd name="T32" fmla="*/ 1259 w 1614"/>
                <a:gd name="T33" fmla="*/ 1986 h 2183"/>
                <a:gd name="T34" fmla="*/ 1220 w 1614"/>
                <a:gd name="T35" fmla="*/ 1908 h 2183"/>
                <a:gd name="T36" fmla="*/ 1247 w 1614"/>
                <a:gd name="T37" fmla="*/ 1763 h 2183"/>
                <a:gd name="T38" fmla="*/ 1279 w 1614"/>
                <a:gd name="T39" fmla="*/ 1716 h 2183"/>
                <a:gd name="T40" fmla="*/ 1492 w 1614"/>
                <a:gd name="T41" fmla="*/ 1582 h 2183"/>
                <a:gd name="T42" fmla="*/ 1524 w 1614"/>
                <a:gd name="T43" fmla="*/ 1531 h 2183"/>
                <a:gd name="T44" fmla="*/ 1611 w 1614"/>
                <a:gd name="T45" fmla="*/ 1330 h 2183"/>
                <a:gd name="T46" fmla="*/ 1582 w 1614"/>
                <a:gd name="T47" fmla="*/ 1263 h 2183"/>
                <a:gd name="T48" fmla="*/ 1003 w 1614"/>
                <a:gd name="T49" fmla="*/ 854 h 2183"/>
                <a:gd name="T50" fmla="*/ 989 w 1614"/>
                <a:gd name="T51" fmla="*/ 841 h 2183"/>
                <a:gd name="T52" fmla="*/ 565 w 1614"/>
                <a:gd name="T53" fmla="*/ 301 h 2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14" h="2183">
                  <a:moveTo>
                    <a:pt x="55" y="0"/>
                  </a:moveTo>
                  <a:lnTo>
                    <a:pt x="55" y="0"/>
                  </a:lnTo>
                  <a:lnTo>
                    <a:pt x="26" y="34"/>
                  </a:lnTo>
                  <a:cubicBezTo>
                    <a:pt x="15" y="46"/>
                    <a:pt x="9" y="63"/>
                    <a:pt x="9" y="79"/>
                  </a:cubicBezTo>
                  <a:lnTo>
                    <a:pt x="0" y="1097"/>
                  </a:lnTo>
                  <a:cubicBezTo>
                    <a:pt x="0" y="1116"/>
                    <a:pt x="7" y="1134"/>
                    <a:pt x="20" y="1147"/>
                  </a:cubicBezTo>
                  <a:lnTo>
                    <a:pt x="381" y="1521"/>
                  </a:lnTo>
                  <a:cubicBezTo>
                    <a:pt x="386" y="1526"/>
                    <a:pt x="391" y="1530"/>
                    <a:pt x="397" y="1533"/>
                  </a:cubicBezTo>
                  <a:lnTo>
                    <a:pt x="1023" y="1883"/>
                  </a:lnTo>
                  <a:cubicBezTo>
                    <a:pt x="1039" y="1893"/>
                    <a:pt x="1051" y="1908"/>
                    <a:pt x="1056" y="1927"/>
                  </a:cubicBezTo>
                  <a:lnTo>
                    <a:pt x="1098" y="2082"/>
                  </a:lnTo>
                  <a:cubicBezTo>
                    <a:pt x="1105" y="2106"/>
                    <a:pt x="1125" y="2126"/>
                    <a:pt x="1150" y="2132"/>
                  </a:cubicBezTo>
                  <a:lnTo>
                    <a:pt x="1342" y="2180"/>
                  </a:lnTo>
                  <a:cubicBezTo>
                    <a:pt x="1354" y="2183"/>
                    <a:pt x="1367" y="2182"/>
                    <a:pt x="1379" y="2179"/>
                  </a:cubicBezTo>
                  <a:lnTo>
                    <a:pt x="1379" y="2179"/>
                  </a:lnTo>
                  <a:cubicBezTo>
                    <a:pt x="1442" y="2160"/>
                    <a:pt x="1449" y="2074"/>
                    <a:pt x="1389" y="2046"/>
                  </a:cubicBezTo>
                  <a:lnTo>
                    <a:pt x="1259" y="1986"/>
                  </a:lnTo>
                  <a:cubicBezTo>
                    <a:pt x="1230" y="1972"/>
                    <a:pt x="1213" y="1940"/>
                    <a:pt x="1220" y="1908"/>
                  </a:cubicBezTo>
                  <a:lnTo>
                    <a:pt x="1247" y="1763"/>
                  </a:lnTo>
                  <a:cubicBezTo>
                    <a:pt x="1251" y="1744"/>
                    <a:pt x="1263" y="1727"/>
                    <a:pt x="1279" y="1716"/>
                  </a:cubicBezTo>
                  <a:lnTo>
                    <a:pt x="1492" y="1582"/>
                  </a:lnTo>
                  <a:cubicBezTo>
                    <a:pt x="1509" y="1571"/>
                    <a:pt x="1521" y="1552"/>
                    <a:pt x="1524" y="1531"/>
                  </a:cubicBezTo>
                  <a:lnTo>
                    <a:pt x="1611" y="1330"/>
                  </a:lnTo>
                  <a:cubicBezTo>
                    <a:pt x="1614" y="1304"/>
                    <a:pt x="1603" y="1279"/>
                    <a:pt x="1582" y="1263"/>
                  </a:cubicBezTo>
                  <a:lnTo>
                    <a:pt x="1003" y="854"/>
                  </a:lnTo>
                  <a:cubicBezTo>
                    <a:pt x="998" y="851"/>
                    <a:pt x="993" y="846"/>
                    <a:pt x="989" y="841"/>
                  </a:cubicBezTo>
                  <a:lnTo>
                    <a:pt x="565" y="301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" name="Freeform 65">
              <a:extLst>
                <a:ext uri="{FF2B5EF4-FFF2-40B4-BE49-F238E27FC236}">
                  <a16:creationId xmlns="" xmlns:a16="http://schemas.microsoft.com/office/drawing/2014/main" id="{F0381921-F4BB-48D4-9D1C-DCCBFF047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8251" y="4170363"/>
              <a:ext cx="838200" cy="533400"/>
            </a:xfrm>
            <a:custGeom>
              <a:avLst/>
              <a:gdLst>
                <a:gd name="T0" fmla="*/ 1487 w 1487"/>
                <a:gd name="T1" fmla="*/ 252 h 945"/>
                <a:gd name="T2" fmla="*/ 1487 w 1487"/>
                <a:gd name="T3" fmla="*/ 252 h 945"/>
                <a:gd name="T4" fmla="*/ 1365 w 1487"/>
                <a:gd name="T5" fmla="*/ 377 h 945"/>
                <a:gd name="T6" fmla="*/ 1354 w 1487"/>
                <a:gd name="T7" fmla="*/ 406 h 945"/>
                <a:gd name="T8" fmla="*/ 1375 w 1487"/>
                <a:gd name="T9" fmla="*/ 650 h 945"/>
                <a:gd name="T10" fmla="*/ 1361 w 1487"/>
                <a:gd name="T11" fmla="*/ 683 h 945"/>
                <a:gd name="T12" fmla="*/ 1146 w 1487"/>
                <a:gd name="T13" fmla="*/ 846 h 945"/>
                <a:gd name="T14" fmla="*/ 1134 w 1487"/>
                <a:gd name="T15" fmla="*/ 852 h 945"/>
                <a:gd name="T16" fmla="*/ 819 w 1487"/>
                <a:gd name="T17" fmla="*/ 944 h 945"/>
                <a:gd name="T18" fmla="*/ 806 w 1487"/>
                <a:gd name="T19" fmla="*/ 945 h 945"/>
                <a:gd name="T20" fmla="*/ 659 w 1487"/>
                <a:gd name="T21" fmla="*/ 934 h 945"/>
                <a:gd name="T22" fmla="*/ 641 w 1487"/>
                <a:gd name="T23" fmla="*/ 928 h 945"/>
                <a:gd name="T24" fmla="*/ 419 w 1487"/>
                <a:gd name="T25" fmla="*/ 776 h 945"/>
                <a:gd name="T26" fmla="*/ 404 w 1487"/>
                <a:gd name="T27" fmla="*/ 770 h 945"/>
                <a:gd name="T28" fmla="*/ 266 w 1487"/>
                <a:gd name="T29" fmla="*/ 746 h 945"/>
                <a:gd name="T30" fmla="*/ 245 w 1487"/>
                <a:gd name="T31" fmla="*/ 749 h 945"/>
                <a:gd name="T32" fmla="*/ 245 w 1487"/>
                <a:gd name="T33" fmla="*/ 749 h 945"/>
                <a:gd name="T34" fmla="*/ 196 w 1487"/>
                <a:gd name="T35" fmla="*/ 698 h 945"/>
                <a:gd name="T36" fmla="*/ 248 w 1487"/>
                <a:gd name="T37" fmla="*/ 594 h 945"/>
                <a:gd name="T38" fmla="*/ 243 w 1487"/>
                <a:gd name="T39" fmla="*/ 553 h 945"/>
                <a:gd name="T40" fmla="*/ 174 w 1487"/>
                <a:gd name="T41" fmla="*/ 472 h 945"/>
                <a:gd name="T42" fmla="*/ 168 w 1487"/>
                <a:gd name="T43" fmla="*/ 433 h 945"/>
                <a:gd name="T44" fmla="*/ 202 w 1487"/>
                <a:gd name="T45" fmla="*/ 357 h 945"/>
                <a:gd name="T46" fmla="*/ 215 w 1487"/>
                <a:gd name="T47" fmla="*/ 341 h 945"/>
                <a:gd name="T48" fmla="*/ 288 w 1487"/>
                <a:gd name="T49" fmla="*/ 291 h 945"/>
                <a:gd name="T50" fmla="*/ 303 w 1487"/>
                <a:gd name="T51" fmla="*/ 270 h 945"/>
                <a:gd name="T52" fmla="*/ 328 w 1487"/>
                <a:gd name="T53" fmla="*/ 184 h 945"/>
                <a:gd name="T54" fmla="*/ 326 w 1487"/>
                <a:gd name="T55" fmla="*/ 158 h 945"/>
                <a:gd name="T56" fmla="*/ 266 w 1487"/>
                <a:gd name="T57" fmla="*/ 29 h 945"/>
                <a:gd name="T58" fmla="*/ 203 w 1487"/>
                <a:gd name="T59" fmla="*/ 21 h 945"/>
                <a:gd name="T60" fmla="*/ 171 w 1487"/>
                <a:gd name="T61" fmla="*/ 61 h 945"/>
                <a:gd name="T62" fmla="*/ 162 w 1487"/>
                <a:gd name="T63" fmla="*/ 81 h 945"/>
                <a:gd name="T64" fmla="*/ 152 w 1487"/>
                <a:gd name="T65" fmla="*/ 169 h 945"/>
                <a:gd name="T66" fmla="*/ 143 w 1487"/>
                <a:gd name="T67" fmla="*/ 189 h 945"/>
                <a:gd name="T68" fmla="*/ 48 w 1487"/>
                <a:gd name="T69" fmla="*/ 295 h 945"/>
                <a:gd name="T70" fmla="*/ 41 w 1487"/>
                <a:gd name="T71" fmla="*/ 308 h 945"/>
                <a:gd name="T72" fmla="*/ 2 w 1487"/>
                <a:gd name="T73" fmla="*/ 417 h 945"/>
                <a:gd name="T74" fmla="*/ 0 w 1487"/>
                <a:gd name="T75" fmla="*/ 432 h 945"/>
                <a:gd name="T76" fmla="*/ 6 w 1487"/>
                <a:gd name="T77" fmla="*/ 497 h 945"/>
                <a:gd name="T78" fmla="*/ 65 w 1487"/>
                <a:gd name="T79" fmla="*/ 524 h 945"/>
                <a:gd name="T80" fmla="*/ 159 w 1487"/>
                <a:gd name="T81" fmla="*/ 454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87" h="945">
                  <a:moveTo>
                    <a:pt x="1487" y="252"/>
                  </a:moveTo>
                  <a:lnTo>
                    <a:pt x="1487" y="252"/>
                  </a:lnTo>
                  <a:lnTo>
                    <a:pt x="1365" y="377"/>
                  </a:lnTo>
                  <a:cubicBezTo>
                    <a:pt x="1357" y="385"/>
                    <a:pt x="1353" y="396"/>
                    <a:pt x="1354" y="406"/>
                  </a:cubicBezTo>
                  <a:lnTo>
                    <a:pt x="1375" y="650"/>
                  </a:lnTo>
                  <a:cubicBezTo>
                    <a:pt x="1377" y="663"/>
                    <a:pt x="1371" y="675"/>
                    <a:pt x="1361" y="683"/>
                  </a:cubicBezTo>
                  <a:lnTo>
                    <a:pt x="1146" y="846"/>
                  </a:lnTo>
                  <a:cubicBezTo>
                    <a:pt x="1142" y="848"/>
                    <a:pt x="1138" y="851"/>
                    <a:pt x="1134" y="852"/>
                  </a:cubicBezTo>
                  <a:lnTo>
                    <a:pt x="819" y="944"/>
                  </a:lnTo>
                  <a:cubicBezTo>
                    <a:pt x="814" y="945"/>
                    <a:pt x="810" y="945"/>
                    <a:pt x="806" y="945"/>
                  </a:cubicBezTo>
                  <a:lnTo>
                    <a:pt x="659" y="934"/>
                  </a:lnTo>
                  <a:cubicBezTo>
                    <a:pt x="653" y="934"/>
                    <a:pt x="646" y="932"/>
                    <a:pt x="641" y="928"/>
                  </a:cubicBezTo>
                  <a:lnTo>
                    <a:pt x="419" y="776"/>
                  </a:lnTo>
                  <a:cubicBezTo>
                    <a:pt x="415" y="773"/>
                    <a:pt x="410" y="771"/>
                    <a:pt x="404" y="770"/>
                  </a:cubicBezTo>
                  <a:lnTo>
                    <a:pt x="266" y="746"/>
                  </a:lnTo>
                  <a:cubicBezTo>
                    <a:pt x="259" y="745"/>
                    <a:pt x="251" y="746"/>
                    <a:pt x="245" y="749"/>
                  </a:cubicBezTo>
                  <a:lnTo>
                    <a:pt x="245" y="749"/>
                  </a:lnTo>
                  <a:cubicBezTo>
                    <a:pt x="213" y="763"/>
                    <a:pt x="181" y="730"/>
                    <a:pt x="196" y="698"/>
                  </a:cubicBezTo>
                  <a:lnTo>
                    <a:pt x="248" y="594"/>
                  </a:lnTo>
                  <a:cubicBezTo>
                    <a:pt x="254" y="581"/>
                    <a:pt x="252" y="565"/>
                    <a:pt x="243" y="553"/>
                  </a:cubicBezTo>
                  <a:lnTo>
                    <a:pt x="174" y="472"/>
                  </a:lnTo>
                  <a:cubicBezTo>
                    <a:pt x="165" y="461"/>
                    <a:pt x="163" y="446"/>
                    <a:pt x="168" y="433"/>
                  </a:cubicBezTo>
                  <a:lnTo>
                    <a:pt x="202" y="357"/>
                  </a:lnTo>
                  <a:cubicBezTo>
                    <a:pt x="205" y="351"/>
                    <a:pt x="209" y="345"/>
                    <a:pt x="215" y="341"/>
                  </a:cubicBezTo>
                  <a:lnTo>
                    <a:pt x="288" y="291"/>
                  </a:lnTo>
                  <a:cubicBezTo>
                    <a:pt x="295" y="286"/>
                    <a:pt x="300" y="279"/>
                    <a:pt x="303" y="270"/>
                  </a:cubicBezTo>
                  <a:lnTo>
                    <a:pt x="328" y="184"/>
                  </a:lnTo>
                  <a:cubicBezTo>
                    <a:pt x="330" y="175"/>
                    <a:pt x="329" y="166"/>
                    <a:pt x="326" y="158"/>
                  </a:cubicBezTo>
                  <a:lnTo>
                    <a:pt x="266" y="29"/>
                  </a:lnTo>
                  <a:cubicBezTo>
                    <a:pt x="255" y="4"/>
                    <a:pt x="221" y="0"/>
                    <a:pt x="203" y="21"/>
                  </a:cubicBezTo>
                  <a:lnTo>
                    <a:pt x="171" y="61"/>
                  </a:lnTo>
                  <a:cubicBezTo>
                    <a:pt x="166" y="67"/>
                    <a:pt x="163" y="74"/>
                    <a:pt x="162" y="81"/>
                  </a:cubicBezTo>
                  <a:lnTo>
                    <a:pt x="152" y="169"/>
                  </a:lnTo>
                  <a:cubicBezTo>
                    <a:pt x="152" y="176"/>
                    <a:pt x="148" y="184"/>
                    <a:pt x="143" y="189"/>
                  </a:cubicBezTo>
                  <a:lnTo>
                    <a:pt x="48" y="295"/>
                  </a:lnTo>
                  <a:cubicBezTo>
                    <a:pt x="45" y="299"/>
                    <a:pt x="43" y="303"/>
                    <a:pt x="41" y="308"/>
                  </a:cubicBezTo>
                  <a:lnTo>
                    <a:pt x="2" y="417"/>
                  </a:lnTo>
                  <a:cubicBezTo>
                    <a:pt x="0" y="422"/>
                    <a:pt x="0" y="427"/>
                    <a:pt x="0" y="432"/>
                  </a:cubicBezTo>
                  <a:lnTo>
                    <a:pt x="6" y="497"/>
                  </a:lnTo>
                  <a:cubicBezTo>
                    <a:pt x="8" y="526"/>
                    <a:pt x="41" y="541"/>
                    <a:pt x="65" y="524"/>
                  </a:cubicBezTo>
                  <a:lnTo>
                    <a:pt x="159" y="454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" name="Freeform 66">
              <a:extLst>
                <a:ext uri="{FF2B5EF4-FFF2-40B4-BE49-F238E27FC236}">
                  <a16:creationId xmlns="" xmlns:a16="http://schemas.microsoft.com/office/drawing/2014/main" id="{7043C220-A304-4CD6-A56D-8D7EDF5BA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8726" y="3884613"/>
              <a:ext cx="866775" cy="287338"/>
            </a:xfrm>
            <a:custGeom>
              <a:avLst/>
              <a:gdLst>
                <a:gd name="T0" fmla="*/ 2 w 1537"/>
                <a:gd name="T1" fmla="*/ 448 h 510"/>
                <a:gd name="T2" fmla="*/ 2 w 1537"/>
                <a:gd name="T3" fmla="*/ 448 h 510"/>
                <a:gd name="T4" fmla="*/ 1 w 1537"/>
                <a:gd name="T5" fmla="*/ 411 h 510"/>
                <a:gd name="T6" fmla="*/ 53 w 1537"/>
                <a:gd name="T7" fmla="*/ 375 h 510"/>
                <a:gd name="T8" fmla="*/ 249 w 1537"/>
                <a:gd name="T9" fmla="*/ 477 h 510"/>
                <a:gd name="T10" fmla="*/ 266 w 1537"/>
                <a:gd name="T11" fmla="*/ 479 h 510"/>
                <a:gd name="T12" fmla="*/ 926 w 1537"/>
                <a:gd name="T13" fmla="*/ 423 h 510"/>
                <a:gd name="T14" fmla="*/ 944 w 1537"/>
                <a:gd name="T15" fmla="*/ 419 h 510"/>
                <a:gd name="T16" fmla="*/ 1203 w 1537"/>
                <a:gd name="T17" fmla="*/ 350 h 510"/>
                <a:gd name="T18" fmla="*/ 1237 w 1537"/>
                <a:gd name="T19" fmla="*/ 334 h 510"/>
                <a:gd name="T20" fmla="*/ 1355 w 1537"/>
                <a:gd name="T21" fmla="*/ 247 h 510"/>
                <a:gd name="T22" fmla="*/ 1439 w 1537"/>
                <a:gd name="T23" fmla="*/ 230 h 510"/>
                <a:gd name="T24" fmla="*/ 1443 w 1537"/>
                <a:gd name="T25" fmla="*/ 231 h 510"/>
                <a:gd name="T26" fmla="*/ 1511 w 1537"/>
                <a:gd name="T27" fmla="*/ 287 h 510"/>
                <a:gd name="T28" fmla="*/ 1524 w 1537"/>
                <a:gd name="T29" fmla="*/ 314 h 510"/>
                <a:gd name="T30" fmla="*/ 1529 w 1537"/>
                <a:gd name="T31" fmla="*/ 388 h 510"/>
                <a:gd name="T32" fmla="*/ 1516 w 1537"/>
                <a:gd name="T33" fmla="*/ 431 h 510"/>
                <a:gd name="T34" fmla="*/ 1452 w 1537"/>
                <a:gd name="T35" fmla="*/ 497 h 510"/>
                <a:gd name="T36" fmla="*/ 1452 w 1537"/>
                <a:gd name="T37" fmla="*/ 497 h 510"/>
                <a:gd name="T38" fmla="*/ 1348 w 1537"/>
                <a:gd name="T39" fmla="*/ 475 h 510"/>
                <a:gd name="T40" fmla="*/ 1329 w 1537"/>
                <a:gd name="T41" fmla="*/ 458 h 510"/>
                <a:gd name="T42" fmla="*/ 1248 w 1537"/>
                <a:gd name="T43" fmla="*/ 431 h 510"/>
                <a:gd name="T44" fmla="*/ 1078 w 1537"/>
                <a:gd name="T45" fmla="*/ 449 h 510"/>
                <a:gd name="T46" fmla="*/ 1024 w 1537"/>
                <a:gd name="T47" fmla="*/ 440 h 510"/>
                <a:gd name="T48" fmla="*/ 649 w 1537"/>
                <a:gd name="T49" fmla="*/ 266 h 510"/>
                <a:gd name="T50" fmla="*/ 641 w 1537"/>
                <a:gd name="T51" fmla="*/ 262 h 510"/>
                <a:gd name="T52" fmla="*/ 459 w 1537"/>
                <a:gd name="T53" fmla="*/ 155 h 510"/>
                <a:gd name="T54" fmla="*/ 195 w 1537"/>
                <a:gd name="T55" fmla="*/ 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37" h="510">
                  <a:moveTo>
                    <a:pt x="2" y="448"/>
                  </a:moveTo>
                  <a:lnTo>
                    <a:pt x="2" y="448"/>
                  </a:lnTo>
                  <a:lnTo>
                    <a:pt x="1" y="411"/>
                  </a:lnTo>
                  <a:cubicBezTo>
                    <a:pt x="0" y="384"/>
                    <a:pt x="28" y="365"/>
                    <a:pt x="53" y="375"/>
                  </a:cubicBezTo>
                  <a:lnTo>
                    <a:pt x="249" y="477"/>
                  </a:lnTo>
                  <a:cubicBezTo>
                    <a:pt x="254" y="479"/>
                    <a:pt x="260" y="480"/>
                    <a:pt x="266" y="479"/>
                  </a:cubicBezTo>
                  <a:lnTo>
                    <a:pt x="926" y="423"/>
                  </a:lnTo>
                  <a:cubicBezTo>
                    <a:pt x="932" y="422"/>
                    <a:pt x="938" y="421"/>
                    <a:pt x="944" y="419"/>
                  </a:cubicBezTo>
                  <a:lnTo>
                    <a:pt x="1203" y="350"/>
                  </a:lnTo>
                  <a:cubicBezTo>
                    <a:pt x="1215" y="347"/>
                    <a:pt x="1227" y="341"/>
                    <a:pt x="1237" y="334"/>
                  </a:cubicBezTo>
                  <a:lnTo>
                    <a:pt x="1355" y="247"/>
                  </a:lnTo>
                  <a:cubicBezTo>
                    <a:pt x="1379" y="230"/>
                    <a:pt x="1410" y="223"/>
                    <a:pt x="1439" y="230"/>
                  </a:cubicBezTo>
                  <a:lnTo>
                    <a:pt x="1443" y="231"/>
                  </a:lnTo>
                  <a:cubicBezTo>
                    <a:pt x="1473" y="238"/>
                    <a:pt x="1498" y="259"/>
                    <a:pt x="1511" y="287"/>
                  </a:cubicBezTo>
                  <a:lnTo>
                    <a:pt x="1524" y="314"/>
                  </a:lnTo>
                  <a:cubicBezTo>
                    <a:pt x="1535" y="337"/>
                    <a:pt x="1537" y="363"/>
                    <a:pt x="1529" y="388"/>
                  </a:cubicBezTo>
                  <a:lnTo>
                    <a:pt x="1516" y="431"/>
                  </a:lnTo>
                  <a:cubicBezTo>
                    <a:pt x="1506" y="462"/>
                    <a:pt x="1483" y="486"/>
                    <a:pt x="1452" y="497"/>
                  </a:cubicBezTo>
                  <a:lnTo>
                    <a:pt x="1452" y="497"/>
                  </a:lnTo>
                  <a:cubicBezTo>
                    <a:pt x="1416" y="510"/>
                    <a:pt x="1376" y="502"/>
                    <a:pt x="1348" y="475"/>
                  </a:cubicBezTo>
                  <a:lnTo>
                    <a:pt x="1329" y="458"/>
                  </a:lnTo>
                  <a:cubicBezTo>
                    <a:pt x="1307" y="437"/>
                    <a:pt x="1277" y="427"/>
                    <a:pt x="1248" y="431"/>
                  </a:cubicBezTo>
                  <a:lnTo>
                    <a:pt x="1078" y="449"/>
                  </a:lnTo>
                  <a:cubicBezTo>
                    <a:pt x="1060" y="451"/>
                    <a:pt x="1041" y="448"/>
                    <a:pt x="1024" y="440"/>
                  </a:cubicBezTo>
                  <a:lnTo>
                    <a:pt x="649" y="266"/>
                  </a:lnTo>
                  <a:cubicBezTo>
                    <a:pt x="646" y="265"/>
                    <a:pt x="643" y="263"/>
                    <a:pt x="641" y="262"/>
                  </a:cubicBezTo>
                  <a:lnTo>
                    <a:pt x="459" y="155"/>
                  </a:lnTo>
                  <a:lnTo>
                    <a:pt x="195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" name="Freeform 67">
              <a:extLst>
                <a:ext uri="{FF2B5EF4-FFF2-40B4-BE49-F238E27FC236}">
                  <a16:creationId xmlns="" xmlns:a16="http://schemas.microsoft.com/office/drawing/2014/main" id="{29BA4DA3-E684-4E27-BA43-E6B9E1911F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6" y="3744913"/>
              <a:ext cx="355600" cy="422275"/>
            </a:xfrm>
            <a:custGeom>
              <a:avLst/>
              <a:gdLst>
                <a:gd name="T0" fmla="*/ 212 w 629"/>
                <a:gd name="T1" fmla="*/ 0 h 748"/>
                <a:gd name="T2" fmla="*/ 212 w 629"/>
                <a:gd name="T3" fmla="*/ 0 h 748"/>
                <a:gd name="T4" fmla="*/ 603 w 629"/>
                <a:gd name="T5" fmla="*/ 215 h 748"/>
                <a:gd name="T6" fmla="*/ 603 w 629"/>
                <a:gd name="T7" fmla="*/ 281 h 748"/>
                <a:gd name="T8" fmla="*/ 298 w 629"/>
                <a:gd name="T9" fmla="*/ 442 h 748"/>
                <a:gd name="T10" fmla="*/ 288 w 629"/>
                <a:gd name="T11" fmla="*/ 450 h 748"/>
                <a:gd name="T12" fmla="*/ 66 w 629"/>
                <a:gd name="T13" fmla="*/ 723 h 748"/>
                <a:gd name="T14" fmla="*/ 2 w 629"/>
                <a:gd name="T15" fmla="*/ 696 h 748"/>
                <a:gd name="T16" fmla="*/ 33 w 629"/>
                <a:gd name="T17" fmla="*/ 459 h 748"/>
                <a:gd name="T18" fmla="*/ 43 w 629"/>
                <a:gd name="T19" fmla="*/ 435 h 748"/>
                <a:gd name="T20" fmla="*/ 304 w 629"/>
                <a:gd name="T21" fmla="*/ 149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9" h="748">
                  <a:moveTo>
                    <a:pt x="212" y="0"/>
                  </a:moveTo>
                  <a:lnTo>
                    <a:pt x="212" y="0"/>
                  </a:lnTo>
                  <a:lnTo>
                    <a:pt x="603" y="215"/>
                  </a:lnTo>
                  <a:cubicBezTo>
                    <a:pt x="629" y="230"/>
                    <a:pt x="629" y="267"/>
                    <a:pt x="603" y="281"/>
                  </a:cubicBezTo>
                  <a:lnTo>
                    <a:pt x="298" y="442"/>
                  </a:lnTo>
                  <a:cubicBezTo>
                    <a:pt x="294" y="444"/>
                    <a:pt x="291" y="447"/>
                    <a:pt x="288" y="450"/>
                  </a:cubicBezTo>
                  <a:lnTo>
                    <a:pt x="66" y="723"/>
                  </a:lnTo>
                  <a:cubicBezTo>
                    <a:pt x="42" y="748"/>
                    <a:pt x="0" y="730"/>
                    <a:pt x="2" y="696"/>
                  </a:cubicBezTo>
                  <a:lnTo>
                    <a:pt x="33" y="459"/>
                  </a:lnTo>
                  <a:cubicBezTo>
                    <a:pt x="34" y="450"/>
                    <a:pt x="37" y="442"/>
                    <a:pt x="43" y="435"/>
                  </a:cubicBezTo>
                  <a:lnTo>
                    <a:pt x="304" y="149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" name="Freeform 68">
              <a:extLst>
                <a:ext uri="{FF2B5EF4-FFF2-40B4-BE49-F238E27FC236}">
                  <a16:creationId xmlns="" xmlns:a16="http://schemas.microsoft.com/office/drawing/2014/main" id="{A7F5CE2B-69BA-43D8-84F1-8462FD7E5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8576" y="3995738"/>
              <a:ext cx="438150" cy="490538"/>
            </a:xfrm>
            <a:custGeom>
              <a:avLst/>
              <a:gdLst>
                <a:gd name="T0" fmla="*/ 0 w 776"/>
                <a:gd name="T1" fmla="*/ 0 h 870"/>
                <a:gd name="T2" fmla="*/ 0 w 776"/>
                <a:gd name="T3" fmla="*/ 0 h 870"/>
                <a:gd name="T4" fmla="*/ 387 w 776"/>
                <a:gd name="T5" fmla="*/ 251 h 870"/>
                <a:gd name="T6" fmla="*/ 404 w 776"/>
                <a:gd name="T7" fmla="*/ 279 h 870"/>
                <a:gd name="T8" fmla="*/ 422 w 776"/>
                <a:gd name="T9" fmla="*/ 453 h 870"/>
                <a:gd name="T10" fmla="*/ 428 w 776"/>
                <a:gd name="T11" fmla="*/ 469 h 870"/>
                <a:gd name="T12" fmla="*/ 610 w 776"/>
                <a:gd name="T13" fmla="*/ 762 h 870"/>
                <a:gd name="T14" fmla="*/ 622 w 776"/>
                <a:gd name="T15" fmla="*/ 774 h 870"/>
                <a:gd name="T16" fmla="*/ 776 w 776"/>
                <a:gd name="T17" fmla="*/ 870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6" h="870">
                  <a:moveTo>
                    <a:pt x="0" y="0"/>
                  </a:moveTo>
                  <a:lnTo>
                    <a:pt x="0" y="0"/>
                  </a:lnTo>
                  <a:cubicBezTo>
                    <a:pt x="23" y="24"/>
                    <a:pt x="316" y="207"/>
                    <a:pt x="387" y="251"/>
                  </a:cubicBezTo>
                  <a:cubicBezTo>
                    <a:pt x="397" y="257"/>
                    <a:pt x="403" y="267"/>
                    <a:pt x="404" y="279"/>
                  </a:cubicBezTo>
                  <a:lnTo>
                    <a:pt x="422" y="453"/>
                  </a:lnTo>
                  <a:cubicBezTo>
                    <a:pt x="423" y="458"/>
                    <a:pt x="425" y="464"/>
                    <a:pt x="428" y="469"/>
                  </a:cubicBezTo>
                  <a:lnTo>
                    <a:pt x="610" y="762"/>
                  </a:lnTo>
                  <a:cubicBezTo>
                    <a:pt x="613" y="767"/>
                    <a:pt x="617" y="771"/>
                    <a:pt x="622" y="774"/>
                  </a:cubicBezTo>
                  <a:lnTo>
                    <a:pt x="776" y="87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" name="Freeform 69">
              <a:extLst>
                <a:ext uri="{FF2B5EF4-FFF2-40B4-BE49-F238E27FC236}">
                  <a16:creationId xmlns="" xmlns:a16="http://schemas.microsoft.com/office/drawing/2014/main" id="{F8EA67F4-A710-4509-A05C-7283FEF01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2388" y="3857625"/>
              <a:ext cx="825500" cy="1096963"/>
            </a:xfrm>
            <a:custGeom>
              <a:avLst/>
              <a:gdLst>
                <a:gd name="T0" fmla="*/ 0 w 1463"/>
                <a:gd name="T1" fmla="*/ 735 h 1946"/>
                <a:gd name="T2" fmla="*/ 0 w 1463"/>
                <a:gd name="T3" fmla="*/ 735 h 1946"/>
                <a:gd name="T4" fmla="*/ 239 w 1463"/>
                <a:gd name="T5" fmla="*/ 702 h 1946"/>
                <a:gd name="T6" fmla="*/ 245 w 1463"/>
                <a:gd name="T7" fmla="*/ 702 h 1946"/>
                <a:gd name="T8" fmla="*/ 423 w 1463"/>
                <a:gd name="T9" fmla="*/ 706 h 1946"/>
                <a:gd name="T10" fmla="*/ 451 w 1463"/>
                <a:gd name="T11" fmla="*/ 695 h 1946"/>
                <a:gd name="T12" fmla="*/ 588 w 1463"/>
                <a:gd name="T13" fmla="*/ 557 h 1946"/>
                <a:gd name="T14" fmla="*/ 651 w 1463"/>
                <a:gd name="T15" fmla="*/ 589 h 1946"/>
                <a:gd name="T16" fmla="*/ 644 w 1463"/>
                <a:gd name="T17" fmla="*/ 636 h 1946"/>
                <a:gd name="T18" fmla="*/ 643 w 1463"/>
                <a:gd name="T19" fmla="*/ 641 h 1946"/>
                <a:gd name="T20" fmla="*/ 555 w 1463"/>
                <a:gd name="T21" fmla="*/ 925 h 1946"/>
                <a:gd name="T22" fmla="*/ 555 w 1463"/>
                <a:gd name="T23" fmla="*/ 947 h 1946"/>
                <a:gd name="T24" fmla="*/ 620 w 1463"/>
                <a:gd name="T25" fmla="*/ 1158 h 1946"/>
                <a:gd name="T26" fmla="*/ 629 w 1463"/>
                <a:gd name="T27" fmla="*/ 1174 h 1946"/>
                <a:gd name="T28" fmla="*/ 754 w 1463"/>
                <a:gd name="T29" fmla="*/ 1295 h 1946"/>
                <a:gd name="T30" fmla="*/ 762 w 1463"/>
                <a:gd name="T31" fmla="*/ 1307 h 1946"/>
                <a:gd name="T32" fmla="*/ 909 w 1463"/>
                <a:gd name="T33" fmla="*/ 1656 h 1946"/>
                <a:gd name="T34" fmla="*/ 985 w 1463"/>
                <a:gd name="T35" fmla="*/ 1858 h 1946"/>
                <a:gd name="T36" fmla="*/ 1004 w 1463"/>
                <a:gd name="T37" fmla="*/ 1879 h 1946"/>
                <a:gd name="T38" fmla="*/ 1143 w 1463"/>
                <a:gd name="T39" fmla="*/ 1941 h 1946"/>
                <a:gd name="T40" fmla="*/ 1178 w 1463"/>
                <a:gd name="T41" fmla="*/ 1938 h 1946"/>
                <a:gd name="T42" fmla="*/ 1440 w 1463"/>
                <a:gd name="T43" fmla="*/ 1770 h 1946"/>
                <a:gd name="T44" fmla="*/ 1448 w 1463"/>
                <a:gd name="T45" fmla="*/ 1714 h 1946"/>
                <a:gd name="T46" fmla="*/ 1399 w 1463"/>
                <a:gd name="T47" fmla="*/ 1658 h 1946"/>
                <a:gd name="T48" fmla="*/ 1394 w 1463"/>
                <a:gd name="T49" fmla="*/ 1654 h 1946"/>
                <a:gd name="T50" fmla="*/ 744 w 1463"/>
                <a:gd name="T51" fmla="*/ 1123 h 1946"/>
                <a:gd name="T52" fmla="*/ 731 w 1463"/>
                <a:gd name="T53" fmla="*/ 1102 h 1946"/>
                <a:gd name="T54" fmla="*/ 702 w 1463"/>
                <a:gd name="T55" fmla="*/ 976 h 1946"/>
                <a:gd name="T56" fmla="*/ 692 w 1463"/>
                <a:gd name="T57" fmla="*/ 958 h 1946"/>
                <a:gd name="T58" fmla="*/ 566 w 1463"/>
                <a:gd name="T59" fmla="*/ 832 h 1946"/>
                <a:gd name="T60" fmla="*/ 559 w 1463"/>
                <a:gd name="T61" fmla="*/ 822 h 1946"/>
                <a:gd name="T62" fmla="*/ 479 w 1463"/>
                <a:gd name="T63" fmla="*/ 659 h 1946"/>
                <a:gd name="T64" fmla="*/ 476 w 1463"/>
                <a:gd name="T65" fmla="*/ 654 h 1946"/>
                <a:gd name="T66" fmla="*/ 232 w 1463"/>
                <a:gd name="T67" fmla="*/ 295 h 1946"/>
                <a:gd name="T68" fmla="*/ 229 w 1463"/>
                <a:gd name="T69" fmla="*/ 288 h 1946"/>
                <a:gd name="T70" fmla="*/ 106 w 1463"/>
                <a:gd name="T71" fmla="*/ 0 h 1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3" h="1946">
                  <a:moveTo>
                    <a:pt x="0" y="735"/>
                  </a:moveTo>
                  <a:lnTo>
                    <a:pt x="0" y="735"/>
                  </a:lnTo>
                  <a:lnTo>
                    <a:pt x="239" y="702"/>
                  </a:lnTo>
                  <a:cubicBezTo>
                    <a:pt x="241" y="702"/>
                    <a:pt x="243" y="702"/>
                    <a:pt x="245" y="702"/>
                  </a:cubicBezTo>
                  <a:lnTo>
                    <a:pt x="423" y="706"/>
                  </a:lnTo>
                  <a:cubicBezTo>
                    <a:pt x="434" y="706"/>
                    <a:pt x="444" y="702"/>
                    <a:pt x="451" y="695"/>
                  </a:cubicBezTo>
                  <a:lnTo>
                    <a:pt x="588" y="557"/>
                  </a:lnTo>
                  <a:cubicBezTo>
                    <a:pt x="613" y="531"/>
                    <a:pt x="657" y="553"/>
                    <a:pt x="651" y="589"/>
                  </a:cubicBezTo>
                  <a:lnTo>
                    <a:pt x="644" y="636"/>
                  </a:lnTo>
                  <a:cubicBezTo>
                    <a:pt x="644" y="637"/>
                    <a:pt x="643" y="639"/>
                    <a:pt x="643" y="641"/>
                  </a:cubicBezTo>
                  <a:lnTo>
                    <a:pt x="555" y="925"/>
                  </a:lnTo>
                  <a:cubicBezTo>
                    <a:pt x="553" y="933"/>
                    <a:pt x="553" y="940"/>
                    <a:pt x="555" y="947"/>
                  </a:cubicBezTo>
                  <a:lnTo>
                    <a:pt x="620" y="1158"/>
                  </a:lnTo>
                  <a:cubicBezTo>
                    <a:pt x="622" y="1164"/>
                    <a:pt x="625" y="1170"/>
                    <a:pt x="629" y="1174"/>
                  </a:cubicBezTo>
                  <a:lnTo>
                    <a:pt x="754" y="1295"/>
                  </a:lnTo>
                  <a:cubicBezTo>
                    <a:pt x="757" y="1299"/>
                    <a:pt x="760" y="1303"/>
                    <a:pt x="762" y="1307"/>
                  </a:cubicBezTo>
                  <a:lnTo>
                    <a:pt x="909" y="1656"/>
                  </a:lnTo>
                  <a:lnTo>
                    <a:pt x="985" y="1858"/>
                  </a:lnTo>
                  <a:cubicBezTo>
                    <a:pt x="988" y="1867"/>
                    <a:pt x="995" y="1874"/>
                    <a:pt x="1004" y="1879"/>
                  </a:cubicBezTo>
                  <a:lnTo>
                    <a:pt x="1143" y="1941"/>
                  </a:lnTo>
                  <a:cubicBezTo>
                    <a:pt x="1154" y="1946"/>
                    <a:pt x="1168" y="1945"/>
                    <a:pt x="1178" y="1938"/>
                  </a:cubicBezTo>
                  <a:lnTo>
                    <a:pt x="1440" y="1770"/>
                  </a:lnTo>
                  <a:cubicBezTo>
                    <a:pt x="1460" y="1758"/>
                    <a:pt x="1463" y="1731"/>
                    <a:pt x="1448" y="1714"/>
                  </a:cubicBezTo>
                  <a:lnTo>
                    <a:pt x="1399" y="1658"/>
                  </a:lnTo>
                  <a:cubicBezTo>
                    <a:pt x="1397" y="1657"/>
                    <a:pt x="1396" y="1656"/>
                    <a:pt x="1394" y="1654"/>
                  </a:cubicBezTo>
                  <a:lnTo>
                    <a:pt x="744" y="1123"/>
                  </a:lnTo>
                  <a:cubicBezTo>
                    <a:pt x="737" y="1117"/>
                    <a:pt x="733" y="1110"/>
                    <a:pt x="731" y="1102"/>
                  </a:cubicBezTo>
                  <a:lnTo>
                    <a:pt x="702" y="976"/>
                  </a:lnTo>
                  <a:cubicBezTo>
                    <a:pt x="700" y="969"/>
                    <a:pt x="697" y="963"/>
                    <a:pt x="692" y="958"/>
                  </a:cubicBezTo>
                  <a:lnTo>
                    <a:pt x="566" y="832"/>
                  </a:lnTo>
                  <a:cubicBezTo>
                    <a:pt x="563" y="829"/>
                    <a:pt x="561" y="826"/>
                    <a:pt x="559" y="822"/>
                  </a:cubicBezTo>
                  <a:lnTo>
                    <a:pt x="479" y="659"/>
                  </a:lnTo>
                  <a:cubicBezTo>
                    <a:pt x="478" y="657"/>
                    <a:pt x="477" y="656"/>
                    <a:pt x="476" y="654"/>
                  </a:cubicBezTo>
                  <a:lnTo>
                    <a:pt x="232" y="295"/>
                  </a:lnTo>
                  <a:cubicBezTo>
                    <a:pt x="231" y="293"/>
                    <a:pt x="230" y="290"/>
                    <a:pt x="229" y="288"/>
                  </a:cubicBezTo>
                  <a:lnTo>
                    <a:pt x="106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" name="Freeform 70">
              <a:extLst>
                <a:ext uri="{FF2B5EF4-FFF2-40B4-BE49-F238E27FC236}">
                  <a16:creationId xmlns="" xmlns:a16="http://schemas.microsoft.com/office/drawing/2014/main" id="{813BE5C1-65FF-42E6-89EE-61E395DD5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0351" y="4217988"/>
              <a:ext cx="223838" cy="747713"/>
            </a:xfrm>
            <a:custGeom>
              <a:avLst/>
              <a:gdLst>
                <a:gd name="T0" fmla="*/ 276 w 398"/>
                <a:gd name="T1" fmla="*/ 0 h 1326"/>
                <a:gd name="T2" fmla="*/ 276 w 398"/>
                <a:gd name="T3" fmla="*/ 0 h 1326"/>
                <a:gd name="T4" fmla="*/ 14 w 398"/>
                <a:gd name="T5" fmla="*/ 285 h 1326"/>
                <a:gd name="T6" fmla="*/ 10 w 398"/>
                <a:gd name="T7" fmla="*/ 331 h 1326"/>
                <a:gd name="T8" fmla="*/ 107 w 398"/>
                <a:gd name="T9" fmla="*/ 476 h 1326"/>
                <a:gd name="T10" fmla="*/ 113 w 398"/>
                <a:gd name="T11" fmla="*/ 495 h 1326"/>
                <a:gd name="T12" fmla="*/ 126 w 398"/>
                <a:gd name="T13" fmla="*/ 915 h 1326"/>
                <a:gd name="T14" fmla="*/ 126 w 398"/>
                <a:gd name="T15" fmla="*/ 919 h 1326"/>
                <a:gd name="T16" fmla="*/ 98 w 398"/>
                <a:gd name="T17" fmla="*/ 1276 h 1326"/>
                <a:gd name="T18" fmla="*/ 154 w 398"/>
                <a:gd name="T19" fmla="*/ 1310 h 1326"/>
                <a:gd name="T20" fmla="*/ 398 w 398"/>
                <a:gd name="T21" fmla="*/ 1160 h 1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8" h="1326">
                  <a:moveTo>
                    <a:pt x="276" y="0"/>
                  </a:moveTo>
                  <a:lnTo>
                    <a:pt x="276" y="0"/>
                  </a:lnTo>
                  <a:lnTo>
                    <a:pt x="14" y="285"/>
                  </a:lnTo>
                  <a:cubicBezTo>
                    <a:pt x="2" y="298"/>
                    <a:pt x="0" y="317"/>
                    <a:pt x="10" y="331"/>
                  </a:cubicBezTo>
                  <a:lnTo>
                    <a:pt x="107" y="476"/>
                  </a:lnTo>
                  <a:cubicBezTo>
                    <a:pt x="111" y="482"/>
                    <a:pt x="113" y="488"/>
                    <a:pt x="113" y="495"/>
                  </a:cubicBezTo>
                  <a:lnTo>
                    <a:pt x="126" y="915"/>
                  </a:lnTo>
                  <a:cubicBezTo>
                    <a:pt x="126" y="916"/>
                    <a:pt x="126" y="917"/>
                    <a:pt x="126" y="919"/>
                  </a:cubicBezTo>
                  <a:lnTo>
                    <a:pt x="98" y="1276"/>
                  </a:lnTo>
                  <a:cubicBezTo>
                    <a:pt x="95" y="1306"/>
                    <a:pt x="128" y="1326"/>
                    <a:pt x="154" y="1310"/>
                  </a:cubicBezTo>
                  <a:lnTo>
                    <a:pt x="398" y="116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" name="Freeform 71">
              <a:extLst>
                <a:ext uri="{FF2B5EF4-FFF2-40B4-BE49-F238E27FC236}">
                  <a16:creationId xmlns="" xmlns:a16="http://schemas.microsoft.com/office/drawing/2014/main" id="{B743AB4E-9760-4B68-B9A5-C974AE9AF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263" y="4033838"/>
              <a:ext cx="0" cy="193675"/>
            </a:xfrm>
            <a:custGeom>
              <a:avLst/>
              <a:gdLst>
                <a:gd name="T0" fmla="*/ 0 h 344"/>
                <a:gd name="T1" fmla="*/ 0 h 344"/>
                <a:gd name="T2" fmla="*/ 344 h 34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44">
                  <a:moveTo>
                    <a:pt x="0" y="0"/>
                  </a:moveTo>
                  <a:lnTo>
                    <a:pt x="0" y="0"/>
                  </a:lnTo>
                  <a:lnTo>
                    <a:pt x="0" y="344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" name="Freeform 72">
              <a:extLst>
                <a:ext uri="{FF2B5EF4-FFF2-40B4-BE49-F238E27FC236}">
                  <a16:creationId xmlns="" xmlns:a16="http://schemas.microsoft.com/office/drawing/2014/main" id="{5B03CB7A-1E59-4B81-8638-42DBD0DF9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5576" y="4265613"/>
              <a:ext cx="220663" cy="163513"/>
            </a:xfrm>
            <a:custGeom>
              <a:avLst/>
              <a:gdLst>
                <a:gd name="T0" fmla="*/ 0 w 392"/>
                <a:gd name="T1" fmla="*/ 0 h 290"/>
                <a:gd name="T2" fmla="*/ 0 w 392"/>
                <a:gd name="T3" fmla="*/ 0 h 290"/>
                <a:gd name="T4" fmla="*/ 173 w 392"/>
                <a:gd name="T5" fmla="*/ 212 h 290"/>
                <a:gd name="T6" fmla="*/ 190 w 392"/>
                <a:gd name="T7" fmla="*/ 224 h 290"/>
                <a:gd name="T8" fmla="*/ 392 w 392"/>
                <a:gd name="T9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290">
                  <a:moveTo>
                    <a:pt x="0" y="0"/>
                  </a:moveTo>
                  <a:lnTo>
                    <a:pt x="0" y="0"/>
                  </a:lnTo>
                  <a:lnTo>
                    <a:pt x="173" y="212"/>
                  </a:lnTo>
                  <a:cubicBezTo>
                    <a:pt x="177" y="218"/>
                    <a:pt x="183" y="222"/>
                    <a:pt x="190" y="224"/>
                  </a:cubicBezTo>
                  <a:lnTo>
                    <a:pt x="392" y="29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" name="Freeform 73">
              <a:extLst>
                <a:ext uri="{FF2B5EF4-FFF2-40B4-BE49-F238E27FC236}">
                  <a16:creationId xmlns="" xmlns:a16="http://schemas.microsoft.com/office/drawing/2014/main" id="{ADD43776-92F9-464A-8A57-B419AB353C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538" y="4465638"/>
              <a:ext cx="209550" cy="82550"/>
            </a:xfrm>
            <a:custGeom>
              <a:avLst/>
              <a:gdLst>
                <a:gd name="T0" fmla="*/ 0 w 373"/>
                <a:gd name="T1" fmla="*/ 145 h 145"/>
                <a:gd name="T2" fmla="*/ 0 w 373"/>
                <a:gd name="T3" fmla="*/ 145 h 145"/>
                <a:gd name="T4" fmla="*/ 296 w 373"/>
                <a:gd name="T5" fmla="*/ 131 h 145"/>
                <a:gd name="T6" fmla="*/ 329 w 373"/>
                <a:gd name="T7" fmla="*/ 107 h 145"/>
                <a:gd name="T8" fmla="*/ 373 w 373"/>
                <a:gd name="T9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145">
                  <a:moveTo>
                    <a:pt x="0" y="145"/>
                  </a:moveTo>
                  <a:lnTo>
                    <a:pt x="0" y="145"/>
                  </a:lnTo>
                  <a:lnTo>
                    <a:pt x="296" y="131"/>
                  </a:lnTo>
                  <a:cubicBezTo>
                    <a:pt x="311" y="130"/>
                    <a:pt x="324" y="121"/>
                    <a:pt x="329" y="107"/>
                  </a:cubicBezTo>
                  <a:lnTo>
                    <a:pt x="373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" name="Freeform 74">
              <a:extLst>
                <a:ext uri="{FF2B5EF4-FFF2-40B4-BE49-F238E27FC236}">
                  <a16:creationId xmlns="" xmlns:a16="http://schemas.microsoft.com/office/drawing/2014/main" id="{350D59C6-B852-44BF-8F7E-FF92FCE1C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2151" y="4384675"/>
              <a:ext cx="368300" cy="388938"/>
            </a:xfrm>
            <a:custGeom>
              <a:avLst/>
              <a:gdLst>
                <a:gd name="T0" fmla="*/ 0 w 655"/>
                <a:gd name="T1" fmla="*/ 343 h 689"/>
                <a:gd name="T2" fmla="*/ 0 w 655"/>
                <a:gd name="T3" fmla="*/ 343 h 689"/>
                <a:gd name="T4" fmla="*/ 138 w 655"/>
                <a:gd name="T5" fmla="*/ 511 h 689"/>
                <a:gd name="T6" fmla="*/ 141 w 655"/>
                <a:gd name="T7" fmla="*/ 516 h 689"/>
                <a:gd name="T8" fmla="*/ 231 w 655"/>
                <a:gd name="T9" fmla="*/ 664 h 689"/>
                <a:gd name="T10" fmla="*/ 295 w 655"/>
                <a:gd name="T11" fmla="*/ 662 h 689"/>
                <a:gd name="T12" fmla="*/ 452 w 655"/>
                <a:gd name="T13" fmla="*/ 368 h 689"/>
                <a:gd name="T14" fmla="*/ 453 w 655"/>
                <a:gd name="T15" fmla="*/ 366 h 689"/>
                <a:gd name="T16" fmla="*/ 589 w 655"/>
                <a:gd name="T17" fmla="*/ 145 h 689"/>
                <a:gd name="T18" fmla="*/ 591 w 655"/>
                <a:gd name="T19" fmla="*/ 141 h 689"/>
                <a:gd name="T20" fmla="*/ 655 w 655"/>
                <a:gd name="T21" fmla="*/ 0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5" h="689">
                  <a:moveTo>
                    <a:pt x="0" y="343"/>
                  </a:moveTo>
                  <a:lnTo>
                    <a:pt x="0" y="343"/>
                  </a:lnTo>
                  <a:lnTo>
                    <a:pt x="138" y="511"/>
                  </a:lnTo>
                  <a:cubicBezTo>
                    <a:pt x="139" y="513"/>
                    <a:pt x="140" y="514"/>
                    <a:pt x="141" y="516"/>
                  </a:cubicBezTo>
                  <a:lnTo>
                    <a:pt x="231" y="664"/>
                  </a:lnTo>
                  <a:cubicBezTo>
                    <a:pt x="246" y="689"/>
                    <a:pt x="282" y="688"/>
                    <a:pt x="295" y="662"/>
                  </a:cubicBezTo>
                  <a:lnTo>
                    <a:pt x="452" y="368"/>
                  </a:lnTo>
                  <a:cubicBezTo>
                    <a:pt x="452" y="367"/>
                    <a:pt x="453" y="366"/>
                    <a:pt x="453" y="366"/>
                  </a:cubicBezTo>
                  <a:lnTo>
                    <a:pt x="589" y="145"/>
                  </a:lnTo>
                  <a:cubicBezTo>
                    <a:pt x="590" y="143"/>
                    <a:pt x="591" y="142"/>
                    <a:pt x="591" y="141"/>
                  </a:cubicBezTo>
                  <a:lnTo>
                    <a:pt x="655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" name="Freeform 75">
              <a:extLst>
                <a:ext uri="{FF2B5EF4-FFF2-40B4-BE49-F238E27FC236}">
                  <a16:creationId xmlns="" xmlns:a16="http://schemas.microsoft.com/office/drawing/2014/main" id="{10E202A0-DA82-4894-971B-60CFAA1CF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9938" y="4675188"/>
              <a:ext cx="123825" cy="17463"/>
            </a:xfrm>
            <a:custGeom>
              <a:avLst/>
              <a:gdLst>
                <a:gd name="T0" fmla="*/ 218 w 218"/>
                <a:gd name="T1" fmla="*/ 30 h 30"/>
                <a:gd name="T2" fmla="*/ 218 w 218"/>
                <a:gd name="T3" fmla="*/ 30 h 30"/>
                <a:gd name="T4" fmla="*/ 0 w 218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" h="30">
                  <a:moveTo>
                    <a:pt x="218" y="30"/>
                  </a:moveTo>
                  <a:lnTo>
                    <a:pt x="218" y="30"/>
                  </a:lnTo>
                  <a:lnTo>
                    <a:pt x="0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" name="Freeform 76">
              <a:extLst>
                <a:ext uri="{FF2B5EF4-FFF2-40B4-BE49-F238E27FC236}">
                  <a16:creationId xmlns="" xmlns:a16="http://schemas.microsoft.com/office/drawing/2014/main" id="{8907243B-8CC2-43C7-AE8B-6B83A0DEC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4813" y="4516438"/>
              <a:ext cx="160338" cy="363538"/>
            </a:xfrm>
            <a:custGeom>
              <a:avLst/>
              <a:gdLst>
                <a:gd name="T0" fmla="*/ 286 w 286"/>
                <a:gd name="T1" fmla="*/ 537 h 645"/>
                <a:gd name="T2" fmla="*/ 286 w 286"/>
                <a:gd name="T3" fmla="*/ 537 h 645"/>
                <a:gd name="T4" fmla="*/ 142 w 286"/>
                <a:gd name="T5" fmla="*/ 631 h 645"/>
                <a:gd name="T6" fmla="*/ 85 w 286"/>
                <a:gd name="T7" fmla="*/ 605 h 645"/>
                <a:gd name="T8" fmla="*/ 0 w 286"/>
                <a:gd name="T9" fmla="*/ 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6" h="645">
                  <a:moveTo>
                    <a:pt x="286" y="537"/>
                  </a:moveTo>
                  <a:lnTo>
                    <a:pt x="286" y="537"/>
                  </a:lnTo>
                  <a:lnTo>
                    <a:pt x="142" y="631"/>
                  </a:lnTo>
                  <a:cubicBezTo>
                    <a:pt x="119" y="645"/>
                    <a:pt x="89" y="632"/>
                    <a:pt x="85" y="605"/>
                  </a:cubicBezTo>
                  <a:lnTo>
                    <a:pt x="0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" name="Freeform 77">
              <a:extLst>
                <a:ext uri="{FF2B5EF4-FFF2-40B4-BE49-F238E27FC236}">
                  <a16:creationId xmlns="" xmlns:a16="http://schemas.microsoft.com/office/drawing/2014/main" id="{27FD10C6-B107-4381-B23B-5C499392D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4776" y="4868863"/>
              <a:ext cx="519113" cy="265113"/>
            </a:xfrm>
            <a:custGeom>
              <a:avLst/>
              <a:gdLst>
                <a:gd name="T0" fmla="*/ 0 w 921"/>
                <a:gd name="T1" fmla="*/ 0 h 471"/>
                <a:gd name="T2" fmla="*/ 0 w 921"/>
                <a:gd name="T3" fmla="*/ 0 h 471"/>
                <a:gd name="T4" fmla="*/ 358 w 921"/>
                <a:gd name="T5" fmla="*/ 227 h 471"/>
                <a:gd name="T6" fmla="*/ 375 w 921"/>
                <a:gd name="T7" fmla="*/ 256 h 471"/>
                <a:gd name="T8" fmla="*/ 385 w 921"/>
                <a:gd name="T9" fmla="*/ 425 h 471"/>
                <a:gd name="T10" fmla="*/ 449 w 921"/>
                <a:gd name="T11" fmla="*/ 449 h 471"/>
                <a:gd name="T12" fmla="*/ 635 w 921"/>
                <a:gd name="T13" fmla="*/ 265 h 471"/>
                <a:gd name="T14" fmla="*/ 639 w 921"/>
                <a:gd name="T15" fmla="*/ 261 h 471"/>
                <a:gd name="T16" fmla="*/ 845 w 921"/>
                <a:gd name="T17" fmla="*/ 117 h 471"/>
                <a:gd name="T18" fmla="*/ 904 w 921"/>
                <a:gd name="T19" fmla="*/ 144 h 471"/>
                <a:gd name="T20" fmla="*/ 921 w 921"/>
                <a:gd name="T21" fmla="*/ 339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1" h="471">
                  <a:moveTo>
                    <a:pt x="0" y="0"/>
                  </a:moveTo>
                  <a:lnTo>
                    <a:pt x="0" y="0"/>
                  </a:lnTo>
                  <a:lnTo>
                    <a:pt x="358" y="227"/>
                  </a:lnTo>
                  <a:cubicBezTo>
                    <a:pt x="368" y="233"/>
                    <a:pt x="374" y="244"/>
                    <a:pt x="375" y="256"/>
                  </a:cubicBezTo>
                  <a:lnTo>
                    <a:pt x="385" y="425"/>
                  </a:lnTo>
                  <a:cubicBezTo>
                    <a:pt x="387" y="457"/>
                    <a:pt x="426" y="471"/>
                    <a:pt x="449" y="449"/>
                  </a:cubicBezTo>
                  <a:lnTo>
                    <a:pt x="635" y="265"/>
                  </a:lnTo>
                  <a:cubicBezTo>
                    <a:pt x="636" y="264"/>
                    <a:pt x="638" y="262"/>
                    <a:pt x="639" y="261"/>
                  </a:cubicBezTo>
                  <a:lnTo>
                    <a:pt x="845" y="117"/>
                  </a:lnTo>
                  <a:cubicBezTo>
                    <a:pt x="869" y="101"/>
                    <a:pt x="901" y="116"/>
                    <a:pt x="904" y="144"/>
                  </a:cubicBezTo>
                  <a:lnTo>
                    <a:pt x="921" y="339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" name="Freeform 78">
              <a:extLst>
                <a:ext uri="{FF2B5EF4-FFF2-40B4-BE49-F238E27FC236}">
                  <a16:creationId xmlns="" xmlns:a16="http://schemas.microsoft.com/office/drawing/2014/main" id="{0F50E14E-6582-435C-B681-CADF2505E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8163" y="4727575"/>
              <a:ext cx="493713" cy="276225"/>
            </a:xfrm>
            <a:custGeom>
              <a:avLst/>
              <a:gdLst>
                <a:gd name="T0" fmla="*/ 0 w 874"/>
                <a:gd name="T1" fmla="*/ 0 h 489"/>
                <a:gd name="T2" fmla="*/ 0 w 874"/>
                <a:gd name="T3" fmla="*/ 0 h 489"/>
                <a:gd name="T4" fmla="*/ 337 w 874"/>
                <a:gd name="T5" fmla="*/ 178 h 489"/>
                <a:gd name="T6" fmla="*/ 344 w 874"/>
                <a:gd name="T7" fmla="*/ 183 h 489"/>
                <a:gd name="T8" fmla="*/ 580 w 874"/>
                <a:gd name="T9" fmla="*/ 381 h 489"/>
                <a:gd name="T10" fmla="*/ 592 w 874"/>
                <a:gd name="T11" fmla="*/ 388 h 489"/>
                <a:gd name="T12" fmla="*/ 874 w 874"/>
                <a:gd name="T13" fmla="*/ 489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4" h="489">
                  <a:moveTo>
                    <a:pt x="0" y="0"/>
                  </a:moveTo>
                  <a:lnTo>
                    <a:pt x="0" y="0"/>
                  </a:lnTo>
                  <a:lnTo>
                    <a:pt x="337" y="178"/>
                  </a:lnTo>
                  <a:cubicBezTo>
                    <a:pt x="340" y="180"/>
                    <a:pt x="342" y="181"/>
                    <a:pt x="344" y="183"/>
                  </a:cubicBezTo>
                  <a:lnTo>
                    <a:pt x="580" y="381"/>
                  </a:lnTo>
                  <a:cubicBezTo>
                    <a:pt x="584" y="384"/>
                    <a:pt x="587" y="387"/>
                    <a:pt x="592" y="388"/>
                  </a:cubicBezTo>
                  <a:lnTo>
                    <a:pt x="874" y="489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" name="Freeform 79">
              <a:extLst>
                <a:ext uri="{FF2B5EF4-FFF2-40B4-BE49-F238E27FC236}">
                  <a16:creationId xmlns="" xmlns:a16="http://schemas.microsoft.com/office/drawing/2014/main" id="{9CFFAA1E-2EEE-4EFB-815F-4602EFCF0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688" y="4314825"/>
              <a:ext cx="304800" cy="1495425"/>
            </a:xfrm>
            <a:custGeom>
              <a:avLst/>
              <a:gdLst>
                <a:gd name="T0" fmla="*/ 314 w 539"/>
                <a:gd name="T1" fmla="*/ 2649 h 2649"/>
                <a:gd name="T2" fmla="*/ 314 w 539"/>
                <a:gd name="T3" fmla="*/ 2649 h 2649"/>
                <a:gd name="T4" fmla="*/ 281 w 539"/>
                <a:gd name="T5" fmla="*/ 2325 h 2649"/>
                <a:gd name="T6" fmla="*/ 264 w 539"/>
                <a:gd name="T7" fmla="*/ 2298 h 2649"/>
                <a:gd name="T8" fmla="*/ 34 w 539"/>
                <a:gd name="T9" fmla="*/ 2150 h 2649"/>
                <a:gd name="T10" fmla="*/ 18 w 539"/>
                <a:gd name="T11" fmla="*/ 2111 h 2649"/>
                <a:gd name="T12" fmla="*/ 74 w 539"/>
                <a:gd name="T13" fmla="*/ 1841 h 2649"/>
                <a:gd name="T14" fmla="*/ 74 w 539"/>
                <a:gd name="T15" fmla="*/ 1826 h 2649"/>
                <a:gd name="T16" fmla="*/ 1 w 539"/>
                <a:gd name="T17" fmla="*/ 1483 h 2649"/>
                <a:gd name="T18" fmla="*/ 0 w 539"/>
                <a:gd name="T19" fmla="*/ 1474 h 2649"/>
                <a:gd name="T20" fmla="*/ 10 w 539"/>
                <a:gd name="T21" fmla="*/ 1229 h 2649"/>
                <a:gd name="T22" fmla="*/ 23 w 539"/>
                <a:gd name="T23" fmla="*/ 1202 h 2649"/>
                <a:gd name="T24" fmla="*/ 93 w 539"/>
                <a:gd name="T25" fmla="*/ 1143 h 2649"/>
                <a:gd name="T26" fmla="*/ 108 w 539"/>
                <a:gd name="T27" fmla="*/ 1135 h 2649"/>
                <a:gd name="T28" fmla="*/ 236 w 539"/>
                <a:gd name="T29" fmla="*/ 1105 h 2649"/>
                <a:gd name="T30" fmla="*/ 257 w 539"/>
                <a:gd name="T31" fmla="*/ 1091 h 2649"/>
                <a:gd name="T32" fmla="*/ 464 w 539"/>
                <a:gd name="T33" fmla="*/ 817 h 2649"/>
                <a:gd name="T34" fmla="*/ 471 w 539"/>
                <a:gd name="T35" fmla="*/ 801 h 2649"/>
                <a:gd name="T36" fmla="*/ 538 w 539"/>
                <a:gd name="T37" fmla="*/ 376 h 2649"/>
                <a:gd name="T38" fmla="*/ 533 w 539"/>
                <a:gd name="T39" fmla="*/ 351 h 2649"/>
                <a:gd name="T40" fmla="*/ 386 w 539"/>
                <a:gd name="T41" fmla="*/ 109 h 2649"/>
                <a:gd name="T42" fmla="*/ 365 w 539"/>
                <a:gd name="T43" fmla="*/ 93 h 2649"/>
                <a:gd name="T44" fmla="*/ 65 w 539"/>
                <a:gd name="T45" fmla="*/ 0 h 2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9" h="2649">
                  <a:moveTo>
                    <a:pt x="314" y="2649"/>
                  </a:moveTo>
                  <a:lnTo>
                    <a:pt x="314" y="2649"/>
                  </a:lnTo>
                  <a:lnTo>
                    <a:pt x="281" y="2325"/>
                  </a:lnTo>
                  <a:cubicBezTo>
                    <a:pt x="280" y="2314"/>
                    <a:pt x="274" y="2304"/>
                    <a:pt x="264" y="2298"/>
                  </a:cubicBezTo>
                  <a:lnTo>
                    <a:pt x="34" y="2150"/>
                  </a:lnTo>
                  <a:cubicBezTo>
                    <a:pt x="21" y="2141"/>
                    <a:pt x="15" y="2126"/>
                    <a:pt x="18" y="2111"/>
                  </a:cubicBezTo>
                  <a:lnTo>
                    <a:pt x="74" y="1841"/>
                  </a:lnTo>
                  <a:cubicBezTo>
                    <a:pt x="75" y="1836"/>
                    <a:pt x="75" y="1831"/>
                    <a:pt x="74" y="1826"/>
                  </a:cubicBezTo>
                  <a:lnTo>
                    <a:pt x="1" y="1483"/>
                  </a:lnTo>
                  <a:cubicBezTo>
                    <a:pt x="0" y="1480"/>
                    <a:pt x="0" y="1477"/>
                    <a:pt x="0" y="1474"/>
                  </a:cubicBezTo>
                  <a:lnTo>
                    <a:pt x="10" y="1229"/>
                  </a:lnTo>
                  <a:cubicBezTo>
                    <a:pt x="10" y="1219"/>
                    <a:pt x="15" y="1209"/>
                    <a:pt x="23" y="1202"/>
                  </a:cubicBezTo>
                  <a:lnTo>
                    <a:pt x="93" y="1143"/>
                  </a:lnTo>
                  <a:cubicBezTo>
                    <a:pt x="97" y="1139"/>
                    <a:pt x="103" y="1136"/>
                    <a:pt x="108" y="1135"/>
                  </a:cubicBezTo>
                  <a:lnTo>
                    <a:pt x="236" y="1105"/>
                  </a:lnTo>
                  <a:cubicBezTo>
                    <a:pt x="244" y="1103"/>
                    <a:pt x="252" y="1098"/>
                    <a:pt x="257" y="1091"/>
                  </a:cubicBezTo>
                  <a:lnTo>
                    <a:pt x="464" y="817"/>
                  </a:lnTo>
                  <a:cubicBezTo>
                    <a:pt x="467" y="813"/>
                    <a:pt x="470" y="807"/>
                    <a:pt x="471" y="801"/>
                  </a:cubicBezTo>
                  <a:lnTo>
                    <a:pt x="538" y="376"/>
                  </a:lnTo>
                  <a:cubicBezTo>
                    <a:pt x="539" y="367"/>
                    <a:pt x="537" y="358"/>
                    <a:pt x="533" y="351"/>
                  </a:cubicBezTo>
                  <a:lnTo>
                    <a:pt x="386" y="109"/>
                  </a:lnTo>
                  <a:cubicBezTo>
                    <a:pt x="381" y="101"/>
                    <a:pt x="373" y="95"/>
                    <a:pt x="365" y="93"/>
                  </a:cubicBezTo>
                  <a:lnTo>
                    <a:pt x="65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" name="Freeform 80">
              <a:extLst>
                <a:ext uri="{FF2B5EF4-FFF2-40B4-BE49-F238E27FC236}">
                  <a16:creationId xmlns="" xmlns:a16="http://schemas.microsoft.com/office/drawing/2014/main" id="{05AC736A-4298-4A93-B315-A0F4ED402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1438" y="5383213"/>
              <a:ext cx="185738" cy="233363"/>
            </a:xfrm>
            <a:custGeom>
              <a:avLst/>
              <a:gdLst>
                <a:gd name="T0" fmla="*/ 331 w 331"/>
                <a:gd name="T1" fmla="*/ 0 h 414"/>
                <a:gd name="T2" fmla="*/ 331 w 331"/>
                <a:gd name="T3" fmla="*/ 0 h 414"/>
                <a:gd name="T4" fmla="*/ 0 w 331"/>
                <a:gd name="T5" fmla="*/ 414 h 414"/>
                <a:gd name="T6" fmla="*/ 331 w 331"/>
                <a:gd name="T7" fmla="*/ 0 h 414"/>
                <a:gd name="T8" fmla="*/ 331 w 331"/>
                <a:gd name="T9" fmla="*/ 0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1" h="414">
                  <a:moveTo>
                    <a:pt x="331" y="0"/>
                  </a:moveTo>
                  <a:lnTo>
                    <a:pt x="331" y="0"/>
                  </a:lnTo>
                  <a:lnTo>
                    <a:pt x="0" y="414"/>
                  </a:lnTo>
                  <a:lnTo>
                    <a:pt x="331" y="0"/>
                  </a:lnTo>
                  <a:lnTo>
                    <a:pt x="331" y="0"/>
                  </a:lnTo>
                  <a:close/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" name="Freeform 81">
              <a:extLst>
                <a:ext uri="{FF2B5EF4-FFF2-40B4-BE49-F238E27FC236}">
                  <a16:creationId xmlns="" xmlns:a16="http://schemas.microsoft.com/office/drawing/2014/main" id="{07C1A8B5-A560-4AE7-9EC2-B761BB2E9D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651" y="5127625"/>
              <a:ext cx="85725" cy="257175"/>
            </a:xfrm>
            <a:custGeom>
              <a:avLst/>
              <a:gdLst>
                <a:gd name="T0" fmla="*/ 0 w 151"/>
                <a:gd name="T1" fmla="*/ 456 h 456"/>
                <a:gd name="T2" fmla="*/ 0 w 151"/>
                <a:gd name="T3" fmla="*/ 456 h 456"/>
                <a:gd name="T4" fmla="*/ 114 w 151"/>
                <a:gd name="T5" fmla="*/ 456 h 456"/>
                <a:gd name="T6" fmla="*/ 151 w 151"/>
                <a:gd name="T7" fmla="*/ 418 h 456"/>
                <a:gd name="T8" fmla="*/ 151 w 151"/>
                <a:gd name="T9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456">
                  <a:moveTo>
                    <a:pt x="0" y="456"/>
                  </a:moveTo>
                  <a:lnTo>
                    <a:pt x="0" y="456"/>
                  </a:lnTo>
                  <a:lnTo>
                    <a:pt x="114" y="456"/>
                  </a:lnTo>
                  <a:cubicBezTo>
                    <a:pt x="135" y="456"/>
                    <a:pt x="151" y="439"/>
                    <a:pt x="151" y="418"/>
                  </a:cubicBezTo>
                  <a:lnTo>
                    <a:pt x="151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" name="Freeform 82">
              <a:extLst>
                <a:ext uri="{FF2B5EF4-FFF2-40B4-BE49-F238E27FC236}">
                  <a16:creationId xmlns="" xmlns:a16="http://schemas.microsoft.com/office/drawing/2014/main" id="{D459FBBF-3E9E-4CAB-89A4-EDC6A617C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9338" y="5083175"/>
              <a:ext cx="298450" cy="295275"/>
            </a:xfrm>
            <a:custGeom>
              <a:avLst/>
              <a:gdLst>
                <a:gd name="T0" fmla="*/ 0 w 531"/>
                <a:gd name="T1" fmla="*/ 0 h 525"/>
                <a:gd name="T2" fmla="*/ 0 w 531"/>
                <a:gd name="T3" fmla="*/ 0 h 525"/>
                <a:gd name="T4" fmla="*/ 6 w 531"/>
                <a:gd name="T5" fmla="*/ 3 h 525"/>
                <a:gd name="T6" fmla="*/ 292 w 531"/>
                <a:gd name="T7" fmla="*/ 124 h 525"/>
                <a:gd name="T8" fmla="*/ 309 w 531"/>
                <a:gd name="T9" fmla="*/ 138 h 525"/>
                <a:gd name="T10" fmla="*/ 516 w 531"/>
                <a:gd name="T11" fmla="*/ 468 h 525"/>
                <a:gd name="T12" fmla="*/ 484 w 531"/>
                <a:gd name="T13" fmla="*/ 525 h 525"/>
                <a:gd name="T14" fmla="*/ 217 w 531"/>
                <a:gd name="T15" fmla="*/ 525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1" h="525">
                  <a:moveTo>
                    <a:pt x="0" y="0"/>
                  </a:moveTo>
                  <a:lnTo>
                    <a:pt x="0" y="0"/>
                  </a:lnTo>
                  <a:cubicBezTo>
                    <a:pt x="2" y="1"/>
                    <a:pt x="4" y="2"/>
                    <a:pt x="6" y="3"/>
                  </a:cubicBezTo>
                  <a:lnTo>
                    <a:pt x="292" y="124"/>
                  </a:lnTo>
                  <a:cubicBezTo>
                    <a:pt x="299" y="127"/>
                    <a:pt x="305" y="132"/>
                    <a:pt x="309" y="138"/>
                  </a:cubicBezTo>
                  <a:lnTo>
                    <a:pt x="516" y="468"/>
                  </a:lnTo>
                  <a:cubicBezTo>
                    <a:pt x="531" y="493"/>
                    <a:pt x="513" y="525"/>
                    <a:pt x="484" y="525"/>
                  </a:cubicBezTo>
                  <a:lnTo>
                    <a:pt x="217" y="525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" name="Freeform 83">
              <a:extLst>
                <a:ext uri="{FF2B5EF4-FFF2-40B4-BE49-F238E27FC236}">
                  <a16:creationId xmlns="" xmlns:a16="http://schemas.microsoft.com/office/drawing/2014/main" id="{0C55C072-E61C-4F54-A7B7-46DB3BE0A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126" y="4881563"/>
              <a:ext cx="12700" cy="176213"/>
            </a:xfrm>
            <a:custGeom>
              <a:avLst/>
              <a:gdLst>
                <a:gd name="T0" fmla="*/ 22 w 22"/>
                <a:gd name="T1" fmla="*/ 0 h 312"/>
                <a:gd name="T2" fmla="*/ 22 w 22"/>
                <a:gd name="T3" fmla="*/ 0 h 312"/>
                <a:gd name="T4" fmla="*/ 0 w 22"/>
                <a:gd name="T5" fmla="*/ 31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312">
                  <a:moveTo>
                    <a:pt x="22" y="0"/>
                  </a:moveTo>
                  <a:lnTo>
                    <a:pt x="22" y="0"/>
                  </a:lnTo>
                  <a:lnTo>
                    <a:pt x="0" y="312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1" name="Freeform 84">
              <a:extLst>
                <a:ext uri="{FF2B5EF4-FFF2-40B4-BE49-F238E27FC236}">
                  <a16:creationId xmlns="" xmlns:a16="http://schemas.microsoft.com/office/drawing/2014/main" id="{05AE6996-7748-4DB4-BE78-8D0A08A7B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401" y="5203825"/>
              <a:ext cx="84138" cy="73025"/>
            </a:xfrm>
            <a:custGeom>
              <a:avLst/>
              <a:gdLst>
                <a:gd name="T0" fmla="*/ 0 w 148"/>
                <a:gd name="T1" fmla="*/ 130 h 130"/>
                <a:gd name="T2" fmla="*/ 0 w 148"/>
                <a:gd name="T3" fmla="*/ 130 h 130"/>
                <a:gd name="T4" fmla="*/ 43 w 148"/>
                <a:gd name="T5" fmla="*/ 50 h 130"/>
                <a:gd name="T6" fmla="*/ 63 w 148"/>
                <a:gd name="T7" fmla="*/ 32 h 130"/>
                <a:gd name="T8" fmla="*/ 148 w 148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130">
                  <a:moveTo>
                    <a:pt x="0" y="130"/>
                  </a:moveTo>
                  <a:lnTo>
                    <a:pt x="0" y="130"/>
                  </a:lnTo>
                  <a:lnTo>
                    <a:pt x="43" y="50"/>
                  </a:lnTo>
                  <a:cubicBezTo>
                    <a:pt x="48" y="42"/>
                    <a:pt x="55" y="35"/>
                    <a:pt x="63" y="32"/>
                  </a:cubicBezTo>
                  <a:lnTo>
                    <a:pt x="148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" name="Freeform 85">
              <a:extLst>
                <a:ext uri="{FF2B5EF4-FFF2-40B4-BE49-F238E27FC236}">
                  <a16:creationId xmlns="" xmlns:a16="http://schemas.microsoft.com/office/drawing/2014/main" id="{8D50F7AC-DD0F-47A6-AABD-59CDC379D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938" y="5437188"/>
              <a:ext cx="247650" cy="120650"/>
            </a:xfrm>
            <a:custGeom>
              <a:avLst/>
              <a:gdLst>
                <a:gd name="T0" fmla="*/ 0 w 439"/>
                <a:gd name="T1" fmla="*/ 0 h 213"/>
                <a:gd name="T2" fmla="*/ 0 w 439"/>
                <a:gd name="T3" fmla="*/ 0 h 213"/>
                <a:gd name="T4" fmla="*/ 273 w 439"/>
                <a:gd name="T5" fmla="*/ 64 h 213"/>
                <a:gd name="T6" fmla="*/ 298 w 439"/>
                <a:gd name="T7" fmla="*/ 117 h 213"/>
                <a:gd name="T8" fmla="*/ 280 w 439"/>
                <a:gd name="T9" fmla="*/ 155 h 213"/>
                <a:gd name="T10" fmla="*/ 319 w 439"/>
                <a:gd name="T11" fmla="*/ 208 h 213"/>
                <a:gd name="T12" fmla="*/ 439 w 439"/>
                <a:gd name="T13" fmla="*/ 18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213">
                  <a:moveTo>
                    <a:pt x="0" y="0"/>
                  </a:moveTo>
                  <a:lnTo>
                    <a:pt x="0" y="0"/>
                  </a:lnTo>
                  <a:lnTo>
                    <a:pt x="273" y="64"/>
                  </a:lnTo>
                  <a:cubicBezTo>
                    <a:pt x="297" y="70"/>
                    <a:pt x="309" y="95"/>
                    <a:pt x="298" y="117"/>
                  </a:cubicBezTo>
                  <a:lnTo>
                    <a:pt x="280" y="155"/>
                  </a:lnTo>
                  <a:cubicBezTo>
                    <a:pt x="266" y="182"/>
                    <a:pt x="289" y="213"/>
                    <a:pt x="319" y="208"/>
                  </a:cubicBezTo>
                  <a:lnTo>
                    <a:pt x="439" y="188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3" name="Freeform 86">
              <a:extLst>
                <a:ext uri="{FF2B5EF4-FFF2-40B4-BE49-F238E27FC236}">
                  <a16:creationId xmlns="" xmlns:a16="http://schemas.microsoft.com/office/drawing/2014/main" id="{9EB8844A-7AB6-4906-8F3F-9FAA0A7E9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701" y="4957763"/>
              <a:ext cx="558800" cy="352425"/>
            </a:xfrm>
            <a:custGeom>
              <a:avLst/>
              <a:gdLst>
                <a:gd name="T0" fmla="*/ 254 w 991"/>
                <a:gd name="T1" fmla="*/ 627 h 627"/>
                <a:gd name="T2" fmla="*/ 254 w 991"/>
                <a:gd name="T3" fmla="*/ 627 h 627"/>
                <a:gd name="T4" fmla="*/ 298 w 991"/>
                <a:gd name="T5" fmla="*/ 528 h 627"/>
                <a:gd name="T6" fmla="*/ 293 w 991"/>
                <a:gd name="T7" fmla="*/ 489 h 627"/>
                <a:gd name="T8" fmla="*/ 212 w 991"/>
                <a:gd name="T9" fmla="*/ 391 h 627"/>
                <a:gd name="T10" fmla="*/ 188 w 991"/>
                <a:gd name="T11" fmla="*/ 378 h 627"/>
                <a:gd name="T12" fmla="*/ 42 w 991"/>
                <a:gd name="T13" fmla="*/ 358 h 627"/>
                <a:gd name="T14" fmla="*/ 19 w 991"/>
                <a:gd name="T15" fmla="*/ 297 h 627"/>
                <a:gd name="T16" fmla="*/ 108 w 991"/>
                <a:gd name="T17" fmla="*/ 194 h 627"/>
                <a:gd name="T18" fmla="*/ 254 w 991"/>
                <a:gd name="T19" fmla="*/ 25 h 627"/>
                <a:gd name="T20" fmla="*/ 277 w 991"/>
                <a:gd name="T21" fmla="*/ 12 h 627"/>
                <a:gd name="T22" fmla="*/ 350 w 991"/>
                <a:gd name="T23" fmla="*/ 2 h 627"/>
                <a:gd name="T24" fmla="*/ 387 w 991"/>
                <a:gd name="T25" fmla="*/ 20 h 627"/>
                <a:gd name="T26" fmla="*/ 479 w 991"/>
                <a:gd name="T27" fmla="*/ 180 h 627"/>
                <a:gd name="T28" fmla="*/ 517 w 991"/>
                <a:gd name="T29" fmla="*/ 198 h 627"/>
                <a:gd name="T30" fmla="*/ 991 w 991"/>
                <a:gd name="T31" fmla="*/ 122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91" h="627">
                  <a:moveTo>
                    <a:pt x="254" y="627"/>
                  </a:moveTo>
                  <a:lnTo>
                    <a:pt x="254" y="627"/>
                  </a:lnTo>
                  <a:lnTo>
                    <a:pt x="298" y="528"/>
                  </a:lnTo>
                  <a:cubicBezTo>
                    <a:pt x="304" y="515"/>
                    <a:pt x="302" y="500"/>
                    <a:pt x="293" y="489"/>
                  </a:cubicBezTo>
                  <a:lnTo>
                    <a:pt x="212" y="391"/>
                  </a:lnTo>
                  <a:cubicBezTo>
                    <a:pt x="206" y="384"/>
                    <a:pt x="198" y="380"/>
                    <a:pt x="188" y="378"/>
                  </a:cubicBezTo>
                  <a:lnTo>
                    <a:pt x="42" y="358"/>
                  </a:lnTo>
                  <a:cubicBezTo>
                    <a:pt x="13" y="354"/>
                    <a:pt x="0" y="319"/>
                    <a:pt x="19" y="297"/>
                  </a:cubicBezTo>
                  <a:lnTo>
                    <a:pt x="108" y="194"/>
                  </a:lnTo>
                  <a:lnTo>
                    <a:pt x="254" y="25"/>
                  </a:lnTo>
                  <a:cubicBezTo>
                    <a:pt x="259" y="18"/>
                    <a:pt x="268" y="14"/>
                    <a:pt x="277" y="12"/>
                  </a:cubicBezTo>
                  <a:lnTo>
                    <a:pt x="350" y="2"/>
                  </a:lnTo>
                  <a:cubicBezTo>
                    <a:pt x="365" y="0"/>
                    <a:pt x="379" y="7"/>
                    <a:pt x="387" y="20"/>
                  </a:cubicBezTo>
                  <a:lnTo>
                    <a:pt x="479" y="180"/>
                  </a:lnTo>
                  <a:cubicBezTo>
                    <a:pt x="486" y="193"/>
                    <a:pt x="502" y="200"/>
                    <a:pt x="517" y="198"/>
                  </a:cubicBezTo>
                  <a:lnTo>
                    <a:pt x="991" y="122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4" name="Freeform 87">
              <a:extLst>
                <a:ext uri="{FF2B5EF4-FFF2-40B4-BE49-F238E27FC236}">
                  <a16:creationId xmlns="" xmlns:a16="http://schemas.microsoft.com/office/drawing/2014/main" id="{7BC68CDF-1E8E-4B32-9D48-E53EDA9349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026" y="5057775"/>
              <a:ext cx="103188" cy="9525"/>
            </a:xfrm>
            <a:custGeom>
              <a:avLst/>
              <a:gdLst>
                <a:gd name="T0" fmla="*/ 183 w 183"/>
                <a:gd name="T1" fmla="*/ 0 h 15"/>
                <a:gd name="T2" fmla="*/ 183 w 183"/>
                <a:gd name="T3" fmla="*/ 0 h 15"/>
                <a:gd name="T4" fmla="*/ 0 w 183"/>
                <a:gd name="T5" fmla="*/ 15 h 15"/>
                <a:gd name="T6" fmla="*/ 183 w 183"/>
                <a:gd name="T7" fmla="*/ 0 h 15"/>
                <a:gd name="T8" fmla="*/ 183 w 183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5">
                  <a:moveTo>
                    <a:pt x="183" y="0"/>
                  </a:moveTo>
                  <a:lnTo>
                    <a:pt x="183" y="0"/>
                  </a:lnTo>
                  <a:lnTo>
                    <a:pt x="0" y="15"/>
                  </a:lnTo>
                  <a:lnTo>
                    <a:pt x="183" y="0"/>
                  </a:lnTo>
                  <a:lnTo>
                    <a:pt x="183" y="0"/>
                  </a:lnTo>
                  <a:close/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5" name="Freeform 88">
              <a:extLst>
                <a:ext uri="{FF2B5EF4-FFF2-40B4-BE49-F238E27FC236}">
                  <a16:creationId xmlns="" xmlns:a16="http://schemas.microsoft.com/office/drawing/2014/main" id="{491CD3C1-4A4C-4D4B-BFA0-FBAD383B7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2213" y="5057775"/>
              <a:ext cx="127000" cy="11113"/>
            </a:xfrm>
            <a:custGeom>
              <a:avLst/>
              <a:gdLst>
                <a:gd name="T0" fmla="*/ 226 w 226"/>
                <a:gd name="T1" fmla="*/ 19 h 19"/>
                <a:gd name="T2" fmla="*/ 226 w 226"/>
                <a:gd name="T3" fmla="*/ 19 h 19"/>
                <a:gd name="T4" fmla="*/ 0 w 226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6" h="19">
                  <a:moveTo>
                    <a:pt x="226" y="19"/>
                  </a:moveTo>
                  <a:lnTo>
                    <a:pt x="226" y="19"/>
                  </a:lnTo>
                  <a:lnTo>
                    <a:pt x="0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6" name="Freeform 89">
              <a:extLst>
                <a:ext uri="{FF2B5EF4-FFF2-40B4-BE49-F238E27FC236}">
                  <a16:creationId xmlns="" xmlns:a16="http://schemas.microsoft.com/office/drawing/2014/main" id="{02E617EB-4013-4309-8C16-18EF85797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9201" y="5067300"/>
              <a:ext cx="44450" cy="87313"/>
            </a:xfrm>
            <a:custGeom>
              <a:avLst/>
              <a:gdLst>
                <a:gd name="T0" fmla="*/ 0 w 77"/>
                <a:gd name="T1" fmla="*/ 157 h 157"/>
                <a:gd name="T2" fmla="*/ 0 w 77"/>
                <a:gd name="T3" fmla="*/ 157 h 157"/>
                <a:gd name="T4" fmla="*/ 77 w 77"/>
                <a:gd name="T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7" h="157">
                  <a:moveTo>
                    <a:pt x="0" y="157"/>
                  </a:moveTo>
                  <a:lnTo>
                    <a:pt x="0" y="157"/>
                  </a:lnTo>
                  <a:lnTo>
                    <a:pt x="77" y="0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7" name="Freeform 90">
              <a:extLst>
                <a:ext uri="{FF2B5EF4-FFF2-40B4-BE49-F238E27FC236}">
                  <a16:creationId xmlns="" xmlns:a16="http://schemas.microsoft.com/office/drawing/2014/main" id="{F94426B9-A673-4744-B076-3F67BE6B5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51" y="4827588"/>
              <a:ext cx="225425" cy="266700"/>
            </a:xfrm>
            <a:custGeom>
              <a:avLst/>
              <a:gdLst>
                <a:gd name="T0" fmla="*/ 0 w 401"/>
                <a:gd name="T1" fmla="*/ 472 h 472"/>
                <a:gd name="T2" fmla="*/ 0 w 401"/>
                <a:gd name="T3" fmla="*/ 472 h 472"/>
                <a:gd name="T4" fmla="*/ 189 w 401"/>
                <a:gd name="T5" fmla="*/ 341 h 472"/>
                <a:gd name="T6" fmla="*/ 214 w 401"/>
                <a:gd name="T7" fmla="*/ 335 h 472"/>
                <a:gd name="T8" fmla="*/ 309 w 401"/>
                <a:gd name="T9" fmla="*/ 325 h 472"/>
                <a:gd name="T10" fmla="*/ 401 w 401"/>
                <a:gd name="T11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1" h="472">
                  <a:moveTo>
                    <a:pt x="0" y="472"/>
                  </a:moveTo>
                  <a:lnTo>
                    <a:pt x="0" y="472"/>
                  </a:lnTo>
                  <a:lnTo>
                    <a:pt x="189" y="341"/>
                  </a:lnTo>
                  <a:cubicBezTo>
                    <a:pt x="197" y="336"/>
                    <a:pt x="205" y="334"/>
                    <a:pt x="214" y="335"/>
                  </a:cubicBezTo>
                  <a:cubicBezTo>
                    <a:pt x="240" y="338"/>
                    <a:pt x="296" y="341"/>
                    <a:pt x="309" y="325"/>
                  </a:cubicBezTo>
                  <a:cubicBezTo>
                    <a:pt x="325" y="305"/>
                    <a:pt x="401" y="0"/>
                    <a:pt x="401" y="0"/>
                  </a:cubicBez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8" name="Freeform 91">
              <a:extLst>
                <a:ext uri="{FF2B5EF4-FFF2-40B4-BE49-F238E27FC236}">
                  <a16:creationId xmlns="" xmlns:a16="http://schemas.microsoft.com/office/drawing/2014/main" id="{4C1C10A0-B0E5-4566-9EC5-21D11EE55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838" y="4795838"/>
              <a:ext cx="9525" cy="160338"/>
            </a:xfrm>
            <a:custGeom>
              <a:avLst/>
              <a:gdLst>
                <a:gd name="T0" fmla="*/ 16 w 16"/>
                <a:gd name="T1" fmla="*/ 0 h 286"/>
                <a:gd name="T2" fmla="*/ 16 w 16"/>
                <a:gd name="T3" fmla="*/ 0 h 286"/>
                <a:gd name="T4" fmla="*/ 0 w 16"/>
                <a:gd name="T5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286">
                  <a:moveTo>
                    <a:pt x="16" y="0"/>
                  </a:moveTo>
                  <a:lnTo>
                    <a:pt x="16" y="0"/>
                  </a:lnTo>
                  <a:lnTo>
                    <a:pt x="0" y="286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9" name="Freeform 92">
              <a:extLst>
                <a:ext uri="{FF2B5EF4-FFF2-40B4-BE49-F238E27FC236}">
                  <a16:creationId xmlns="" xmlns:a16="http://schemas.microsoft.com/office/drawing/2014/main" id="{9D65F53F-B322-4467-A705-29E68E5D9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026" y="3217863"/>
              <a:ext cx="290513" cy="95250"/>
            </a:xfrm>
            <a:custGeom>
              <a:avLst/>
              <a:gdLst>
                <a:gd name="T0" fmla="*/ 0 w 516"/>
                <a:gd name="T1" fmla="*/ 0 h 171"/>
                <a:gd name="T2" fmla="*/ 0 w 516"/>
                <a:gd name="T3" fmla="*/ 0 h 171"/>
                <a:gd name="T4" fmla="*/ 516 w 516"/>
                <a:gd name="T5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16" h="171">
                  <a:moveTo>
                    <a:pt x="0" y="0"/>
                  </a:moveTo>
                  <a:lnTo>
                    <a:pt x="0" y="0"/>
                  </a:lnTo>
                  <a:lnTo>
                    <a:pt x="516" y="171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0" name="Freeform 93">
              <a:extLst>
                <a:ext uri="{FF2B5EF4-FFF2-40B4-BE49-F238E27FC236}">
                  <a16:creationId xmlns="" xmlns:a16="http://schemas.microsoft.com/office/drawing/2014/main" id="{AD6C2DAC-DAE3-4E19-8CED-C48002F57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51" y="3206750"/>
              <a:ext cx="47625" cy="193675"/>
            </a:xfrm>
            <a:custGeom>
              <a:avLst/>
              <a:gdLst>
                <a:gd name="T0" fmla="*/ 0 w 85"/>
                <a:gd name="T1" fmla="*/ 0 h 345"/>
                <a:gd name="T2" fmla="*/ 0 w 85"/>
                <a:gd name="T3" fmla="*/ 0 h 345"/>
                <a:gd name="T4" fmla="*/ 78 w 85"/>
                <a:gd name="T5" fmla="*/ 111 h 345"/>
                <a:gd name="T6" fmla="*/ 85 w 85"/>
                <a:gd name="T7" fmla="*/ 133 h 345"/>
                <a:gd name="T8" fmla="*/ 85 w 85"/>
                <a:gd name="T9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345">
                  <a:moveTo>
                    <a:pt x="0" y="0"/>
                  </a:moveTo>
                  <a:lnTo>
                    <a:pt x="0" y="0"/>
                  </a:lnTo>
                  <a:lnTo>
                    <a:pt x="78" y="111"/>
                  </a:lnTo>
                  <a:cubicBezTo>
                    <a:pt x="83" y="117"/>
                    <a:pt x="85" y="125"/>
                    <a:pt x="85" y="133"/>
                  </a:cubicBezTo>
                  <a:lnTo>
                    <a:pt x="85" y="345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1" name="Freeform 94">
              <a:extLst>
                <a:ext uri="{FF2B5EF4-FFF2-40B4-BE49-F238E27FC236}">
                  <a16:creationId xmlns="" xmlns:a16="http://schemas.microsoft.com/office/drawing/2014/main" id="{5B998EFB-C3AA-442E-A7EF-FA3B6CA60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576" y="3222625"/>
              <a:ext cx="22225" cy="63500"/>
            </a:xfrm>
            <a:custGeom>
              <a:avLst/>
              <a:gdLst>
                <a:gd name="T0" fmla="*/ 41 w 41"/>
                <a:gd name="T1" fmla="*/ 0 h 114"/>
                <a:gd name="T2" fmla="*/ 41 w 41"/>
                <a:gd name="T3" fmla="*/ 0 h 114"/>
                <a:gd name="T4" fmla="*/ 0 w 41"/>
                <a:gd name="T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114">
                  <a:moveTo>
                    <a:pt x="41" y="0"/>
                  </a:moveTo>
                  <a:lnTo>
                    <a:pt x="41" y="0"/>
                  </a:lnTo>
                  <a:lnTo>
                    <a:pt x="0" y="114"/>
                  </a:lnTo>
                </a:path>
              </a:pathLst>
            </a:custGeom>
            <a:noFill/>
            <a:ln w="22225" cap="flat">
              <a:solidFill>
                <a:srgbClr val="5165C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49" name="TextBox 148">
            <a:extLst>
              <a:ext uri="{FF2B5EF4-FFF2-40B4-BE49-F238E27FC236}">
                <a16:creationId xmlns="" xmlns:a16="http://schemas.microsoft.com/office/drawing/2014/main" id="{491CCFBE-E7B5-4C2E-BAFC-88705B8A88CE}"/>
              </a:ext>
            </a:extLst>
          </p:cNvPr>
          <p:cNvSpPr txBox="1"/>
          <p:nvPr/>
        </p:nvSpPr>
        <p:spPr>
          <a:xfrm>
            <a:off x="9092724" y="1562250"/>
            <a:ext cx="262710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3600" dirty="0" smtClean="0">
                <a:solidFill>
                  <a:srgbClr val="4B66CA"/>
                </a:solidFill>
                <a:latin typeface="RussianRail G Pro" pitchFamily="50" charset="-52"/>
                <a:ea typeface="Verdana" panose="020B0604030504040204" pitchFamily="34" charset="0"/>
                <a:cs typeface="+mj-cs"/>
              </a:rPr>
              <a:t>85 600 </a:t>
            </a:r>
            <a:r>
              <a:rPr lang="ru-RU" sz="2000" b="1" spc="200" dirty="0" smtClean="0">
                <a:ln cap="sq">
                  <a:noFill/>
                  <a:miter lim="800000"/>
                </a:ln>
                <a:solidFill>
                  <a:srgbClr val="4B66C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М</a:t>
            </a:r>
            <a:endParaRPr lang="ru-RU" sz="2000" b="1" spc="200" dirty="0">
              <a:ln cap="sq">
                <a:noFill/>
                <a:miter lim="800000"/>
              </a:ln>
              <a:solidFill>
                <a:srgbClr val="4B66C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20" name="Рисунок 1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85622" y="1335180"/>
            <a:ext cx="796507" cy="324679"/>
          </a:xfrm>
          <a:prstGeom prst="rect">
            <a:avLst/>
          </a:prstGeom>
        </p:spPr>
      </p:pic>
      <p:sp>
        <p:nvSpPr>
          <p:cNvPr id="121" name="Прямоугольник 120"/>
          <p:cNvSpPr/>
          <p:nvPr/>
        </p:nvSpPr>
        <p:spPr>
          <a:xfrm>
            <a:off x="1742689" y="1162225"/>
            <a:ext cx="3312760" cy="677104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ru-RU" sz="3600" dirty="0" smtClean="0">
                <a:solidFill>
                  <a:srgbClr val="193598"/>
                </a:solidFill>
                <a:latin typeface="RussianRail G Pro" pitchFamily="50" charset="-52"/>
                <a:ea typeface="Verdana" panose="020B0604030504040204" pitchFamily="34" charset="0"/>
                <a:cs typeface="+mj-cs"/>
              </a:rPr>
              <a:t>1</a:t>
            </a:r>
            <a:r>
              <a:rPr lang="en-US" sz="3600" dirty="0" smtClean="0">
                <a:solidFill>
                  <a:srgbClr val="193598"/>
                </a:solidFill>
                <a:latin typeface="RussianRail G Pro" pitchFamily="50" charset="-52"/>
                <a:ea typeface="Verdana" panose="020B0604030504040204" pitchFamily="34" charset="0"/>
                <a:cs typeface="+mj-cs"/>
              </a:rPr>
              <a:t>,3</a:t>
            </a:r>
            <a:r>
              <a:rPr lang="ru-RU" sz="3600" dirty="0" smtClean="0">
                <a:solidFill>
                  <a:srgbClr val="193598"/>
                </a:solidFill>
                <a:latin typeface="RussianRail G Pro" pitchFamily="50" charset="-52"/>
                <a:ea typeface="Verdana" panose="020B0604030504040204" pitchFamily="34" charset="0"/>
                <a:cs typeface="+mj-cs"/>
              </a:rPr>
              <a:t> </a:t>
            </a:r>
            <a:r>
              <a:rPr lang="ru-RU" sz="1600" spc="150" dirty="0" smtClean="0">
                <a:ln w="15875" cap="sq">
                  <a:noFill/>
                  <a:miter lim="800000"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лрд. тонн грузов</a:t>
            </a:r>
            <a:endParaRPr lang="ru-RU" sz="1600" spc="150" dirty="0">
              <a:ln w="15875" cap="sq">
                <a:noFill/>
                <a:miter lim="800000"/>
              </a:ln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22" name="Рисунок 1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34700" y="1937447"/>
            <a:ext cx="703644" cy="577253"/>
          </a:xfrm>
          <a:prstGeom prst="rect">
            <a:avLst/>
          </a:prstGeom>
        </p:spPr>
      </p:pic>
      <p:sp>
        <p:nvSpPr>
          <p:cNvPr id="123" name="Прямоугольник 122"/>
          <p:cNvSpPr/>
          <p:nvPr/>
        </p:nvSpPr>
        <p:spPr>
          <a:xfrm>
            <a:off x="1688812" y="1970267"/>
            <a:ext cx="3488462" cy="677104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ru-RU" sz="1600" dirty="0" smtClean="0">
                <a:solidFill>
                  <a:srgbClr val="1935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3600" dirty="0" smtClean="0">
                <a:solidFill>
                  <a:srgbClr val="193598"/>
                </a:solidFill>
                <a:latin typeface="RussianRail G Pro" pitchFamily="50" charset="-52"/>
                <a:ea typeface="Verdana" panose="020B0604030504040204" pitchFamily="34" charset="0"/>
                <a:cs typeface="+mj-cs"/>
              </a:rPr>
              <a:t>&gt;</a:t>
            </a:r>
            <a:r>
              <a:rPr lang="ru-RU" sz="1600" dirty="0" smtClean="0">
                <a:solidFill>
                  <a:srgbClr val="1935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3600" dirty="0" smtClean="0">
                <a:solidFill>
                  <a:srgbClr val="193598"/>
                </a:solidFill>
                <a:latin typeface="RussianRail G Pro" pitchFamily="50" charset="-52"/>
                <a:ea typeface="Verdana" panose="020B0604030504040204" pitchFamily="34" charset="0"/>
                <a:cs typeface="+mj-cs"/>
              </a:rPr>
              <a:t>1 </a:t>
            </a:r>
            <a:r>
              <a:rPr lang="ru-RU" sz="1600" spc="150" dirty="0" smtClean="0">
                <a:ln w="15875" cap="sq">
                  <a:noFill/>
                  <a:miter lim="800000"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лрд. пассажиров</a:t>
            </a:r>
            <a:endParaRPr lang="ru-RU" sz="1600" spc="150" dirty="0">
              <a:ln w="15875" cap="sq">
                <a:noFill/>
                <a:miter lim="800000"/>
              </a:ln>
              <a:solidFill>
                <a:srgbClr val="3C3C3B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="" xmlns:a16="http://schemas.microsoft.com/office/drawing/2014/main" id="{491CCFBE-E7B5-4C2E-BAFC-88705B8A88CE}"/>
              </a:ext>
            </a:extLst>
          </p:cNvPr>
          <p:cNvSpPr txBox="1"/>
          <p:nvPr/>
        </p:nvSpPr>
        <p:spPr>
          <a:xfrm>
            <a:off x="9407501" y="2825603"/>
            <a:ext cx="75345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3600" dirty="0" smtClean="0">
                <a:solidFill>
                  <a:srgbClr val="4B66CA"/>
                </a:solidFill>
                <a:latin typeface="RussianRail G Pro" pitchFamily="50" charset="-52"/>
                <a:ea typeface="Verdana" panose="020B0604030504040204" pitchFamily="34" charset="0"/>
                <a:cs typeface="+mj-cs"/>
              </a:rPr>
              <a:t>16          </a:t>
            </a:r>
            <a:endParaRPr lang="ru-RU" sz="2000" b="1" spc="200" dirty="0">
              <a:ln cap="sq">
                <a:noFill/>
                <a:miter lim="800000"/>
              </a:ln>
              <a:solidFill>
                <a:srgbClr val="4B66C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="" xmlns:a16="http://schemas.microsoft.com/office/drawing/2014/main" id="{491CCFBE-E7B5-4C2E-BAFC-88705B8A88CE}"/>
              </a:ext>
            </a:extLst>
          </p:cNvPr>
          <p:cNvSpPr txBox="1"/>
          <p:nvPr/>
        </p:nvSpPr>
        <p:spPr>
          <a:xfrm>
            <a:off x="10934296" y="2799033"/>
            <a:ext cx="75345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3600" dirty="0" smtClean="0">
                <a:solidFill>
                  <a:srgbClr val="4B66CA"/>
                </a:solidFill>
                <a:latin typeface="RussianRail G Pro" pitchFamily="50" charset="-52"/>
                <a:ea typeface="Verdana" panose="020B0604030504040204" pitchFamily="34" charset="0"/>
                <a:cs typeface="+mj-cs"/>
              </a:rPr>
              <a:t>77          </a:t>
            </a:r>
            <a:endParaRPr lang="ru-RU" sz="2000" b="1" spc="200" dirty="0">
              <a:ln cap="sq">
                <a:noFill/>
                <a:miter lim="800000"/>
              </a:ln>
              <a:solidFill>
                <a:srgbClr val="4B66C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890" name="AutoShape 2" descr="Imag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7892" name="AutoShape 4" descr="Imag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45847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9A575C3B-E824-5B88-A18C-9C004C9263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700" dirty="0"/>
              <a:t>/ </a:t>
            </a:r>
            <a:r>
              <a:rPr lang="ru-RU" sz="3700" dirty="0" smtClean="0"/>
              <a:t>ОАО «РЖД» СЕГОДНЯ</a:t>
            </a:r>
            <a:endParaRPr lang="ru-RU" sz="3700" dirty="0"/>
          </a:p>
        </p:txBody>
      </p:sp>
      <p:grpSp>
        <p:nvGrpSpPr>
          <p:cNvPr id="23" name="Группа 22">
            <a:extLst>
              <a:ext uri="{FF2B5EF4-FFF2-40B4-BE49-F238E27FC236}">
                <a16:creationId xmlns="" xmlns:a16="http://schemas.microsoft.com/office/drawing/2014/main" id="{EC93D2A4-3710-5F14-A1A1-152E1577455D}"/>
              </a:ext>
            </a:extLst>
          </p:cNvPr>
          <p:cNvGrpSpPr/>
          <p:nvPr/>
        </p:nvGrpSpPr>
        <p:grpSpPr>
          <a:xfrm>
            <a:off x="9249621" y="4480109"/>
            <a:ext cx="2503213" cy="1936566"/>
            <a:chOff x="704576" y="4524928"/>
            <a:chExt cx="2503213" cy="1936566"/>
          </a:xfrm>
          <a:solidFill>
            <a:srgbClr val="4B66CA"/>
          </a:solidFill>
        </p:grpSpPr>
        <p:sp>
          <p:nvSpPr>
            <p:cNvPr id="24" name="Прямоугольник 2">
              <a:extLst>
                <a:ext uri="{FF2B5EF4-FFF2-40B4-BE49-F238E27FC236}">
                  <a16:creationId xmlns="" xmlns:a16="http://schemas.microsoft.com/office/drawing/2014/main" id="{AD4730B0-B829-9721-744D-1D62D9DAF4E3}"/>
                </a:ext>
              </a:extLst>
            </p:cNvPr>
            <p:cNvSpPr/>
            <p:nvPr/>
          </p:nvSpPr>
          <p:spPr>
            <a:xfrm>
              <a:off x="704576" y="4902384"/>
              <a:ext cx="1196363" cy="1129083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77585" h="3659521">
                  <a:moveTo>
                    <a:pt x="2728586" y="6299"/>
                  </a:moveTo>
                  <a:lnTo>
                    <a:pt x="3877585" y="0"/>
                  </a:lnTo>
                  <a:lnTo>
                    <a:pt x="1123178" y="3654851"/>
                  </a:lnTo>
                  <a:lnTo>
                    <a:pt x="0" y="3659521"/>
                  </a:lnTo>
                  <a:lnTo>
                    <a:pt x="2728586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">
              <a:extLst>
                <a:ext uri="{FF2B5EF4-FFF2-40B4-BE49-F238E27FC236}">
                  <a16:creationId xmlns="" xmlns:a16="http://schemas.microsoft.com/office/drawing/2014/main" id="{A7C77795-5060-7E3F-D611-E565D48D84C5}"/>
                </a:ext>
              </a:extLst>
            </p:cNvPr>
            <p:cNvSpPr/>
            <p:nvPr/>
          </p:nvSpPr>
          <p:spPr>
            <a:xfrm>
              <a:off x="836438" y="4524928"/>
              <a:ext cx="761193" cy="757240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8626" h="3659521">
                  <a:moveTo>
                    <a:pt x="2747535" y="6299"/>
                  </a:moveTo>
                  <a:lnTo>
                    <a:pt x="3678626" y="0"/>
                  </a:lnTo>
                  <a:lnTo>
                    <a:pt x="952642" y="3654851"/>
                  </a:lnTo>
                  <a:lnTo>
                    <a:pt x="0" y="3659521"/>
                  </a:lnTo>
                  <a:lnTo>
                    <a:pt x="2747535" y="629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Прямоугольник 2">
              <a:extLst>
                <a:ext uri="{FF2B5EF4-FFF2-40B4-BE49-F238E27FC236}">
                  <a16:creationId xmlns="" xmlns:a16="http://schemas.microsoft.com/office/drawing/2014/main" id="{DBE1DD48-02F8-F1D4-7D60-D70199D4CCE8}"/>
                </a:ext>
              </a:extLst>
            </p:cNvPr>
            <p:cNvSpPr/>
            <p:nvPr/>
          </p:nvSpPr>
          <p:spPr>
            <a:xfrm>
              <a:off x="1129149" y="5900630"/>
              <a:ext cx="704655" cy="56086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  <a:gd name="connsiteX0" fmla="*/ 2747535 w 2747536"/>
                <a:gd name="connsiteY0" fmla="*/ 0 h 3653222"/>
                <a:gd name="connsiteX1" fmla="*/ 1571399 w 2747536"/>
                <a:gd name="connsiteY1" fmla="*/ 2477526 h 3653222"/>
                <a:gd name="connsiteX2" fmla="*/ 782106 w 2747536"/>
                <a:gd name="connsiteY2" fmla="*/ 3648552 h 3653222"/>
                <a:gd name="connsiteX3" fmla="*/ 0 w 2747536"/>
                <a:gd name="connsiteY3" fmla="*/ 3653222 h 3653222"/>
                <a:gd name="connsiteX4" fmla="*/ 2747535 w 2747536"/>
                <a:gd name="connsiteY4" fmla="*/ 0 h 3653222"/>
                <a:gd name="connsiteX0" fmla="*/ 1245081 w 1571399"/>
                <a:gd name="connsiteY0" fmla="*/ 0 h 1178081"/>
                <a:gd name="connsiteX1" fmla="*/ 1571399 w 1571399"/>
                <a:gd name="connsiteY1" fmla="*/ 2385 h 1178081"/>
                <a:gd name="connsiteX2" fmla="*/ 782106 w 1571399"/>
                <a:gd name="connsiteY2" fmla="*/ 1173411 h 1178081"/>
                <a:gd name="connsiteX3" fmla="*/ 0 w 1571399"/>
                <a:gd name="connsiteY3" fmla="*/ 1178081 h 1178081"/>
                <a:gd name="connsiteX4" fmla="*/ 1245081 w 1571399"/>
                <a:gd name="connsiteY4" fmla="*/ 0 h 1178081"/>
                <a:gd name="connsiteX0" fmla="*/ 1149549 w 1571399"/>
                <a:gd name="connsiteY0" fmla="*/ 0 h 1516785"/>
                <a:gd name="connsiteX1" fmla="*/ 1571399 w 1571399"/>
                <a:gd name="connsiteY1" fmla="*/ 341089 h 1516785"/>
                <a:gd name="connsiteX2" fmla="*/ 782106 w 1571399"/>
                <a:gd name="connsiteY2" fmla="*/ 1512115 h 1516785"/>
                <a:gd name="connsiteX3" fmla="*/ 0 w 1571399"/>
                <a:gd name="connsiteY3" fmla="*/ 1516785 h 1516785"/>
                <a:gd name="connsiteX4" fmla="*/ 1149549 w 1571399"/>
                <a:gd name="connsiteY4" fmla="*/ 0 h 1516785"/>
                <a:gd name="connsiteX0" fmla="*/ 1149549 w 1901418"/>
                <a:gd name="connsiteY0" fmla="*/ 6299 h 1523084"/>
                <a:gd name="connsiteX1" fmla="*/ 1901418 w 1901418"/>
                <a:gd name="connsiteY1" fmla="*/ 0 h 1523084"/>
                <a:gd name="connsiteX2" fmla="*/ 782106 w 1901418"/>
                <a:gd name="connsiteY2" fmla="*/ 1518414 h 1523084"/>
                <a:gd name="connsiteX3" fmla="*/ 0 w 1901418"/>
                <a:gd name="connsiteY3" fmla="*/ 1523084 h 1523084"/>
                <a:gd name="connsiteX4" fmla="*/ 1149549 w 1901418"/>
                <a:gd name="connsiteY4" fmla="*/ 6299 h 1523084"/>
                <a:gd name="connsiteX0" fmla="*/ 1158234 w 1901418"/>
                <a:gd name="connsiteY0" fmla="*/ 0 h 1690479"/>
                <a:gd name="connsiteX1" fmla="*/ 1901418 w 1901418"/>
                <a:gd name="connsiteY1" fmla="*/ 167395 h 1690479"/>
                <a:gd name="connsiteX2" fmla="*/ 782106 w 1901418"/>
                <a:gd name="connsiteY2" fmla="*/ 1685809 h 1690479"/>
                <a:gd name="connsiteX3" fmla="*/ 0 w 1901418"/>
                <a:gd name="connsiteY3" fmla="*/ 1690479 h 1690479"/>
                <a:gd name="connsiteX4" fmla="*/ 1158234 w 1901418"/>
                <a:gd name="connsiteY4" fmla="*/ 0 h 1690479"/>
                <a:gd name="connsiteX0" fmla="*/ 1210342 w 1901418"/>
                <a:gd name="connsiteY0" fmla="*/ 214732 h 1523084"/>
                <a:gd name="connsiteX1" fmla="*/ 1901418 w 1901418"/>
                <a:gd name="connsiteY1" fmla="*/ 0 h 1523084"/>
                <a:gd name="connsiteX2" fmla="*/ 782106 w 1901418"/>
                <a:gd name="connsiteY2" fmla="*/ 1518414 h 1523084"/>
                <a:gd name="connsiteX3" fmla="*/ 0 w 1901418"/>
                <a:gd name="connsiteY3" fmla="*/ 1523084 h 1523084"/>
                <a:gd name="connsiteX4" fmla="*/ 1210342 w 1901418"/>
                <a:gd name="connsiteY4" fmla="*/ 214732 h 1523084"/>
                <a:gd name="connsiteX0" fmla="*/ 1149549 w 1901418"/>
                <a:gd name="connsiteY0" fmla="*/ 0 h 1542839"/>
                <a:gd name="connsiteX1" fmla="*/ 1901418 w 1901418"/>
                <a:gd name="connsiteY1" fmla="*/ 19755 h 1542839"/>
                <a:gd name="connsiteX2" fmla="*/ 782106 w 1901418"/>
                <a:gd name="connsiteY2" fmla="*/ 1538169 h 1542839"/>
                <a:gd name="connsiteX3" fmla="*/ 0 w 1901418"/>
                <a:gd name="connsiteY3" fmla="*/ 1542839 h 1542839"/>
                <a:gd name="connsiteX4" fmla="*/ 1149549 w 1901418"/>
                <a:gd name="connsiteY4" fmla="*/ 0 h 1542839"/>
                <a:gd name="connsiteX0" fmla="*/ 1149549 w 1901418"/>
                <a:gd name="connsiteY0" fmla="*/ 0 h 1542839"/>
                <a:gd name="connsiteX1" fmla="*/ 1901418 w 1901418"/>
                <a:gd name="connsiteY1" fmla="*/ 19755 h 1542839"/>
                <a:gd name="connsiteX2" fmla="*/ 782106 w 1901418"/>
                <a:gd name="connsiteY2" fmla="*/ 1538169 h 1542839"/>
                <a:gd name="connsiteX3" fmla="*/ 0 w 1901418"/>
                <a:gd name="connsiteY3" fmla="*/ 1542839 h 1542839"/>
                <a:gd name="connsiteX4" fmla="*/ 1149549 w 1901418"/>
                <a:gd name="connsiteY4" fmla="*/ 0 h 1542839"/>
                <a:gd name="connsiteX0" fmla="*/ 1149549 w 1910103"/>
                <a:gd name="connsiteY0" fmla="*/ 0 h 1542839"/>
                <a:gd name="connsiteX1" fmla="*/ 1910103 w 1910103"/>
                <a:gd name="connsiteY1" fmla="*/ 2385 h 1542839"/>
                <a:gd name="connsiteX2" fmla="*/ 782106 w 1910103"/>
                <a:gd name="connsiteY2" fmla="*/ 1538169 h 1542839"/>
                <a:gd name="connsiteX3" fmla="*/ 0 w 1910103"/>
                <a:gd name="connsiteY3" fmla="*/ 1542839 h 1542839"/>
                <a:gd name="connsiteX4" fmla="*/ 1149549 w 1910103"/>
                <a:gd name="connsiteY4" fmla="*/ 0 h 1542839"/>
                <a:gd name="connsiteX0" fmla="*/ 1149549 w 1927472"/>
                <a:gd name="connsiteY0" fmla="*/ 0 h 1542839"/>
                <a:gd name="connsiteX1" fmla="*/ 1927472 w 1927472"/>
                <a:gd name="connsiteY1" fmla="*/ 11070 h 1542839"/>
                <a:gd name="connsiteX2" fmla="*/ 782106 w 1927472"/>
                <a:gd name="connsiteY2" fmla="*/ 1538169 h 1542839"/>
                <a:gd name="connsiteX3" fmla="*/ 0 w 1927472"/>
                <a:gd name="connsiteY3" fmla="*/ 1542839 h 1542839"/>
                <a:gd name="connsiteX4" fmla="*/ 1149549 w 1927472"/>
                <a:gd name="connsiteY4" fmla="*/ 0 h 1542839"/>
                <a:gd name="connsiteX0" fmla="*/ 1219027 w 1927472"/>
                <a:gd name="connsiteY0" fmla="*/ 197363 h 1531769"/>
                <a:gd name="connsiteX1" fmla="*/ 1927472 w 1927472"/>
                <a:gd name="connsiteY1" fmla="*/ 0 h 1531769"/>
                <a:gd name="connsiteX2" fmla="*/ 782106 w 1927472"/>
                <a:gd name="connsiteY2" fmla="*/ 1527099 h 1531769"/>
                <a:gd name="connsiteX3" fmla="*/ 0 w 1927472"/>
                <a:gd name="connsiteY3" fmla="*/ 1531769 h 1531769"/>
                <a:gd name="connsiteX4" fmla="*/ 1219027 w 1927472"/>
                <a:gd name="connsiteY4" fmla="*/ 197363 h 1531769"/>
                <a:gd name="connsiteX0" fmla="*/ 1149549 w 1927472"/>
                <a:gd name="connsiteY0" fmla="*/ 0 h 1534154"/>
                <a:gd name="connsiteX1" fmla="*/ 1927472 w 1927472"/>
                <a:gd name="connsiteY1" fmla="*/ 2385 h 1534154"/>
                <a:gd name="connsiteX2" fmla="*/ 782106 w 1927472"/>
                <a:gd name="connsiteY2" fmla="*/ 1529484 h 1534154"/>
                <a:gd name="connsiteX3" fmla="*/ 0 w 1927472"/>
                <a:gd name="connsiteY3" fmla="*/ 1534154 h 1534154"/>
                <a:gd name="connsiteX4" fmla="*/ 1149549 w 1927472"/>
                <a:gd name="connsiteY4" fmla="*/ 0 h 1534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7472" h="1534154">
                  <a:moveTo>
                    <a:pt x="1149549" y="0"/>
                  </a:moveTo>
                  <a:lnTo>
                    <a:pt x="1927472" y="2385"/>
                  </a:lnTo>
                  <a:lnTo>
                    <a:pt x="782106" y="1529484"/>
                  </a:lnTo>
                  <a:lnTo>
                    <a:pt x="0" y="1534154"/>
                  </a:lnTo>
                  <a:lnTo>
                    <a:pt x="1149549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">
              <a:extLst>
                <a:ext uri="{FF2B5EF4-FFF2-40B4-BE49-F238E27FC236}">
                  <a16:creationId xmlns="" xmlns:a16="http://schemas.microsoft.com/office/drawing/2014/main" id="{7794CC81-1CCB-7D49-A827-0CED2D8EEE84}"/>
                </a:ext>
              </a:extLst>
            </p:cNvPr>
            <p:cNvSpPr/>
            <p:nvPr/>
          </p:nvSpPr>
          <p:spPr>
            <a:xfrm>
              <a:off x="2589450" y="5282168"/>
              <a:ext cx="618339" cy="752474"/>
            </a:xfrm>
            <a:custGeom>
              <a:avLst/>
              <a:gdLst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10174941 w 10174941"/>
                <a:gd name="connsiteY2" fmla="*/ 3672170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485529 w 10174941"/>
                <a:gd name="connsiteY2" fmla="*/ 363631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6849035 w 10174941"/>
                <a:gd name="connsiteY2" fmla="*/ 3645276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10174941"/>
                <a:gd name="connsiteY0" fmla="*/ 0 h 3672170"/>
                <a:gd name="connsiteX1" fmla="*/ 10174941 w 10174941"/>
                <a:gd name="connsiteY1" fmla="*/ 0 h 3672170"/>
                <a:gd name="connsiteX2" fmla="*/ 7395135 w 10174941"/>
                <a:gd name="connsiteY2" fmla="*/ 3667501 h 3672170"/>
                <a:gd name="connsiteX3" fmla="*/ 0 w 10174941"/>
                <a:gd name="connsiteY3" fmla="*/ 3672170 h 3672170"/>
                <a:gd name="connsiteX4" fmla="*/ 0 w 10174941"/>
                <a:gd name="connsiteY4" fmla="*/ 0 h 3672170"/>
                <a:gd name="connsiteX0" fmla="*/ 0 w 9943166"/>
                <a:gd name="connsiteY0" fmla="*/ 0 h 3672170"/>
                <a:gd name="connsiteX1" fmla="*/ 9943166 w 9943166"/>
                <a:gd name="connsiteY1" fmla="*/ 57150 h 3672170"/>
                <a:gd name="connsiteX2" fmla="*/ 7395135 w 9943166"/>
                <a:gd name="connsiteY2" fmla="*/ 3667501 h 3672170"/>
                <a:gd name="connsiteX3" fmla="*/ 0 w 9943166"/>
                <a:gd name="connsiteY3" fmla="*/ 3672170 h 3672170"/>
                <a:gd name="connsiteX4" fmla="*/ 0 w 9943166"/>
                <a:gd name="connsiteY4" fmla="*/ 0 h 3672170"/>
                <a:gd name="connsiteX0" fmla="*/ 0 w 10149541"/>
                <a:gd name="connsiteY0" fmla="*/ 0 h 3672170"/>
                <a:gd name="connsiteX1" fmla="*/ 10149541 w 10149541"/>
                <a:gd name="connsiteY1" fmla="*/ 3175 h 3672170"/>
                <a:gd name="connsiteX2" fmla="*/ 7395135 w 10149541"/>
                <a:gd name="connsiteY2" fmla="*/ 3667501 h 3672170"/>
                <a:gd name="connsiteX3" fmla="*/ 0 w 10149541"/>
                <a:gd name="connsiteY3" fmla="*/ 3672170 h 3672170"/>
                <a:gd name="connsiteX4" fmla="*/ 0 w 10149541"/>
                <a:gd name="connsiteY4" fmla="*/ 0 h 3672170"/>
                <a:gd name="connsiteX0" fmla="*/ 9171079 w 10149541"/>
                <a:gd name="connsiteY0" fmla="*/ 15774 h 3668995"/>
                <a:gd name="connsiteX1" fmla="*/ 10149541 w 10149541"/>
                <a:gd name="connsiteY1" fmla="*/ 0 h 3668995"/>
                <a:gd name="connsiteX2" fmla="*/ 7395135 w 10149541"/>
                <a:gd name="connsiteY2" fmla="*/ 3664326 h 3668995"/>
                <a:gd name="connsiteX3" fmla="*/ 0 w 10149541"/>
                <a:gd name="connsiteY3" fmla="*/ 3668995 h 3668995"/>
                <a:gd name="connsiteX4" fmla="*/ 9171079 w 10149541"/>
                <a:gd name="connsiteY4" fmla="*/ 15774 h 3668995"/>
                <a:gd name="connsiteX0" fmla="*/ 2425410 w 3403872"/>
                <a:gd name="connsiteY0" fmla="*/ 15774 h 3664325"/>
                <a:gd name="connsiteX1" fmla="*/ 3403872 w 3403872"/>
                <a:gd name="connsiteY1" fmla="*/ 0 h 3664325"/>
                <a:gd name="connsiteX2" fmla="*/ 649466 w 3403872"/>
                <a:gd name="connsiteY2" fmla="*/ 3664326 h 3664325"/>
                <a:gd name="connsiteX3" fmla="*/ 0 w 3403872"/>
                <a:gd name="connsiteY3" fmla="*/ 3659521 h 3664325"/>
                <a:gd name="connsiteX4" fmla="*/ 2425410 w 3403872"/>
                <a:gd name="connsiteY4" fmla="*/ 15774 h 3664325"/>
                <a:gd name="connsiteX0" fmla="*/ 2927546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927546 w 3906008"/>
                <a:gd name="connsiteY4" fmla="*/ 15774 h 3678469"/>
                <a:gd name="connsiteX0" fmla="*/ 2766483 w 3906008"/>
                <a:gd name="connsiteY0" fmla="*/ 15774 h 3678469"/>
                <a:gd name="connsiteX1" fmla="*/ 3906008 w 3906008"/>
                <a:gd name="connsiteY1" fmla="*/ 0 h 3678469"/>
                <a:gd name="connsiteX2" fmla="*/ 1151602 w 3906008"/>
                <a:gd name="connsiteY2" fmla="*/ 3664326 h 3678469"/>
                <a:gd name="connsiteX3" fmla="*/ 0 w 3906008"/>
                <a:gd name="connsiteY3" fmla="*/ 3678469 h 3678469"/>
                <a:gd name="connsiteX4" fmla="*/ 2766483 w 3906008"/>
                <a:gd name="connsiteY4" fmla="*/ 15774 h 3678469"/>
                <a:gd name="connsiteX0" fmla="*/ 2368564 w 3508089"/>
                <a:gd name="connsiteY0" fmla="*/ 15774 h 3664325"/>
                <a:gd name="connsiteX1" fmla="*/ 3508089 w 3508089"/>
                <a:gd name="connsiteY1" fmla="*/ 0 h 3664325"/>
                <a:gd name="connsiteX2" fmla="*/ 753683 w 3508089"/>
                <a:gd name="connsiteY2" fmla="*/ 3664326 h 3664325"/>
                <a:gd name="connsiteX3" fmla="*/ 0 w 3508089"/>
                <a:gd name="connsiteY3" fmla="*/ 3498458 h 3664325"/>
                <a:gd name="connsiteX4" fmla="*/ 2368564 w 3508089"/>
                <a:gd name="connsiteY4" fmla="*/ 15774 h 3664325"/>
                <a:gd name="connsiteX0" fmla="*/ 2738060 w 3877585"/>
                <a:gd name="connsiteY0" fmla="*/ 15774 h 3664325"/>
                <a:gd name="connsiteX1" fmla="*/ 3877585 w 3877585"/>
                <a:gd name="connsiteY1" fmla="*/ 0 h 3664325"/>
                <a:gd name="connsiteX2" fmla="*/ 1123179 w 3877585"/>
                <a:gd name="connsiteY2" fmla="*/ 3664326 h 3664325"/>
                <a:gd name="connsiteX3" fmla="*/ 0 w 3877585"/>
                <a:gd name="connsiteY3" fmla="*/ 3659521 h 3664325"/>
                <a:gd name="connsiteX4" fmla="*/ 2738060 w 3877585"/>
                <a:gd name="connsiteY4" fmla="*/ 15774 h 3664325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560108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738060 w 3877585"/>
                <a:gd name="connsiteY0" fmla="*/ 15774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38060 w 3877585"/>
                <a:gd name="connsiteY4" fmla="*/ 15774 h 3659521"/>
                <a:gd name="connsiteX0" fmla="*/ 2832803 w 3877585"/>
                <a:gd name="connsiteY0" fmla="*/ 110516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832803 w 3877585"/>
                <a:gd name="connsiteY4" fmla="*/ 110516 h 3659521"/>
                <a:gd name="connsiteX0" fmla="*/ 2728586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728586 w 3877585"/>
                <a:gd name="connsiteY4" fmla="*/ 6299 h 3659521"/>
                <a:gd name="connsiteX0" fmla="*/ 3268619 w 3877585"/>
                <a:gd name="connsiteY0" fmla="*/ 7261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3268619 w 3877585"/>
                <a:gd name="connsiteY4" fmla="*/ 72619 h 3659521"/>
                <a:gd name="connsiteX0" fmla="*/ 2946494 w 3877585"/>
                <a:gd name="connsiteY0" fmla="*/ 6299 h 3659521"/>
                <a:gd name="connsiteX1" fmla="*/ 3877585 w 3877585"/>
                <a:gd name="connsiteY1" fmla="*/ 0 h 3659521"/>
                <a:gd name="connsiteX2" fmla="*/ 1123178 w 3877585"/>
                <a:gd name="connsiteY2" fmla="*/ 3654851 h 3659521"/>
                <a:gd name="connsiteX3" fmla="*/ 0 w 3877585"/>
                <a:gd name="connsiteY3" fmla="*/ 3659521 h 3659521"/>
                <a:gd name="connsiteX4" fmla="*/ 2946494 w 3877585"/>
                <a:gd name="connsiteY4" fmla="*/ 6299 h 3659521"/>
                <a:gd name="connsiteX0" fmla="*/ 2387513 w 3318604"/>
                <a:gd name="connsiteY0" fmla="*/ 6299 h 3654851"/>
                <a:gd name="connsiteX1" fmla="*/ 3318604 w 3318604"/>
                <a:gd name="connsiteY1" fmla="*/ 0 h 3654851"/>
                <a:gd name="connsiteX2" fmla="*/ 564197 w 3318604"/>
                <a:gd name="connsiteY2" fmla="*/ 3654851 h 3654851"/>
                <a:gd name="connsiteX3" fmla="*/ 0 w 3318604"/>
                <a:gd name="connsiteY3" fmla="*/ 3564778 h 3654851"/>
                <a:gd name="connsiteX4" fmla="*/ 2387513 w 3318604"/>
                <a:gd name="connsiteY4" fmla="*/ 6299 h 3654851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24219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2747535 w 3678626"/>
                <a:gd name="connsiteY0" fmla="*/ 6299 h 3664325"/>
                <a:gd name="connsiteX1" fmla="*/ 3678626 w 3678626"/>
                <a:gd name="connsiteY1" fmla="*/ 0 h 3664325"/>
                <a:gd name="connsiteX2" fmla="*/ 744208 w 3678626"/>
                <a:gd name="connsiteY2" fmla="*/ 3664325 h 3664325"/>
                <a:gd name="connsiteX3" fmla="*/ 0 w 3678626"/>
                <a:gd name="connsiteY3" fmla="*/ 3659521 h 3664325"/>
                <a:gd name="connsiteX4" fmla="*/ 2747535 w 3678626"/>
                <a:gd name="connsiteY4" fmla="*/ 6299 h 3664325"/>
                <a:gd name="connsiteX0" fmla="*/ 2747535 w 3678626"/>
                <a:gd name="connsiteY0" fmla="*/ 6299 h 3659521"/>
                <a:gd name="connsiteX1" fmla="*/ 3678626 w 3678626"/>
                <a:gd name="connsiteY1" fmla="*/ 0 h 3659521"/>
                <a:gd name="connsiteX2" fmla="*/ 952642 w 3678626"/>
                <a:gd name="connsiteY2" fmla="*/ 3654851 h 3659521"/>
                <a:gd name="connsiteX3" fmla="*/ 0 w 3678626"/>
                <a:gd name="connsiteY3" fmla="*/ 3659521 h 3659521"/>
                <a:gd name="connsiteX4" fmla="*/ 2747535 w 3678626"/>
                <a:gd name="connsiteY4" fmla="*/ 6299 h 3659521"/>
                <a:gd name="connsiteX0" fmla="*/ 1999069 w 2930160"/>
                <a:gd name="connsiteY0" fmla="*/ 6299 h 3654851"/>
                <a:gd name="connsiteX1" fmla="*/ 2930160 w 2930160"/>
                <a:gd name="connsiteY1" fmla="*/ 0 h 3654851"/>
                <a:gd name="connsiteX2" fmla="*/ 204176 w 2930160"/>
                <a:gd name="connsiteY2" fmla="*/ 3654851 h 3654851"/>
                <a:gd name="connsiteX3" fmla="*/ 0 w 2930160"/>
                <a:gd name="connsiteY3" fmla="*/ 3631098 h 3654851"/>
                <a:gd name="connsiteX4" fmla="*/ 1999069 w 2930160"/>
                <a:gd name="connsiteY4" fmla="*/ 6299 h 3654851"/>
                <a:gd name="connsiteX0" fmla="*/ 2576999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576999 w 3508090"/>
                <a:gd name="connsiteY4" fmla="*/ 6299 h 3659521"/>
                <a:gd name="connsiteX0" fmla="*/ 2908598 w 3508090"/>
                <a:gd name="connsiteY0" fmla="*/ 53671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908598 w 3508090"/>
                <a:gd name="connsiteY4" fmla="*/ 53671 h 3659521"/>
                <a:gd name="connsiteX0" fmla="*/ 2747535 w 3508090"/>
                <a:gd name="connsiteY0" fmla="*/ 6299 h 3659521"/>
                <a:gd name="connsiteX1" fmla="*/ 3508090 w 3508090"/>
                <a:gd name="connsiteY1" fmla="*/ 0 h 3659521"/>
                <a:gd name="connsiteX2" fmla="*/ 782106 w 3508090"/>
                <a:gd name="connsiteY2" fmla="*/ 3654851 h 3659521"/>
                <a:gd name="connsiteX3" fmla="*/ 0 w 3508090"/>
                <a:gd name="connsiteY3" fmla="*/ 3659521 h 3659521"/>
                <a:gd name="connsiteX4" fmla="*/ 2747535 w 3508090"/>
                <a:gd name="connsiteY4" fmla="*/ 6299 h 3659521"/>
                <a:gd name="connsiteX0" fmla="*/ 2103285 w 2863840"/>
                <a:gd name="connsiteY0" fmla="*/ 6299 h 3654851"/>
                <a:gd name="connsiteX1" fmla="*/ 2863840 w 2863840"/>
                <a:gd name="connsiteY1" fmla="*/ 0 h 3654851"/>
                <a:gd name="connsiteX2" fmla="*/ 137856 w 2863840"/>
                <a:gd name="connsiteY2" fmla="*/ 3654851 h 3654851"/>
                <a:gd name="connsiteX3" fmla="*/ 0 w 2863840"/>
                <a:gd name="connsiteY3" fmla="*/ 3536356 h 3654851"/>
                <a:gd name="connsiteX4" fmla="*/ 2103285 w 2863840"/>
                <a:gd name="connsiteY4" fmla="*/ 6299 h 3654851"/>
                <a:gd name="connsiteX0" fmla="*/ 2216976 w 2977531"/>
                <a:gd name="connsiteY0" fmla="*/ 6299 h 3654851"/>
                <a:gd name="connsiteX1" fmla="*/ 2977531 w 2977531"/>
                <a:gd name="connsiteY1" fmla="*/ 0 h 3654851"/>
                <a:gd name="connsiteX2" fmla="*/ 251547 w 2977531"/>
                <a:gd name="connsiteY2" fmla="*/ 3654851 h 3654851"/>
                <a:gd name="connsiteX3" fmla="*/ 0 w 2977531"/>
                <a:gd name="connsiteY3" fmla="*/ 3631098 h 3654851"/>
                <a:gd name="connsiteX4" fmla="*/ 2216976 w 2977531"/>
                <a:gd name="connsiteY4" fmla="*/ 6299 h 3654851"/>
                <a:gd name="connsiteX0" fmla="*/ 2008542 w 2769097"/>
                <a:gd name="connsiteY0" fmla="*/ 6299 h 3654851"/>
                <a:gd name="connsiteX1" fmla="*/ 2769097 w 2769097"/>
                <a:gd name="connsiteY1" fmla="*/ 0 h 3654851"/>
                <a:gd name="connsiteX2" fmla="*/ 43113 w 2769097"/>
                <a:gd name="connsiteY2" fmla="*/ 3654851 h 3654851"/>
                <a:gd name="connsiteX3" fmla="*/ 0 w 2769097"/>
                <a:gd name="connsiteY3" fmla="*/ 3242654 h 3654851"/>
                <a:gd name="connsiteX4" fmla="*/ 2008542 w 2769097"/>
                <a:gd name="connsiteY4" fmla="*/ 6299 h 3654851"/>
                <a:gd name="connsiteX0" fmla="*/ 2245398 w 3005953"/>
                <a:gd name="connsiteY0" fmla="*/ 6299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245398 w 3005953"/>
                <a:gd name="connsiteY4" fmla="*/ 6299 h 3654851"/>
                <a:gd name="connsiteX0" fmla="*/ 2633843 w 3005953"/>
                <a:gd name="connsiteY0" fmla="*/ 15774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633843 w 3005953"/>
                <a:gd name="connsiteY4" fmla="*/ 15774 h 3654851"/>
                <a:gd name="connsiteX0" fmla="*/ 2794905 w 3005953"/>
                <a:gd name="connsiteY0" fmla="*/ 25248 h 3654851"/>
                <a:gd name="connsiteX1" fmla="*/ 3005953 w 3005953"/>
                <a:gd name="connsiteY1" fmla="*/ 0 h 3654851"/>
                <a:gd name="connsiteX2" fmla="*/ 279969 w 3005953"/>
                <a:gd name="connsiteY2" fmla="*/ 3654851 h 3654851"/>
                <a:gd name="connsiteX3" fmla="*/ 0 w 3005953"/>
                <a:gd name="connsiteY3" fmla="*/ 3650047 h 3654851"/>
                <a:gd name="connsiteX4" fmla="*/ 2794905 w 3005953"/>
                <a:gd name="connsiteY4" fmla="*/ 25248 h 3654851"/>
                <a:gd name="connsiteX0" fmla="*/ 2757008 w 3005953"/>
                <a:gd name="connsiteY0" fmla="*/ 0 h 3658026"/>
                <a:gd name="connsiteX1" fmla="*/ 3005953 w 3005953"/>
                <a:gd name="connsiteY1" fmla="*/ 3175 h 3658026"/>
                <a:gd name="connsiteX2" fmla="*/ 279969 w 3005953"/>
                <a:gd name="connsiteY2" fmla="*/ 3658026 h 3658026"/>
                <a:gd name="connsiteX3" fmla="*/ 0 w 3005953"/>
                <a:gd name="connsiteY3" fmla="*/ 3653222 h 3658026"/>
                <a:gd name="connsiteX4" fmla="*/ 2757008 w 3005953"/>
                <a:gd name="connsiteY4" fmla="*/ 0 h 3658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05953" h="3658026">
                  <a:moveTo>
                    <a:pt x="2757008" y="0"/>
                  </a:moveTo>
                  <a:lnTo>
                    <a:pt x="3005953" y="3175"/>
                  </a:lnTo>
                  <a:lnTo>
                    <a:pt x="279969" y="3658026"/>
                  </a:lnTo>
                  <a:lnTo>
                    <a:pt x="0" y="3653222"/>
                  </a:lnTo>
                  <a:lnTo>
                    <a:pt x="2757008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27" name="AutoShape 1175">
            <a:extLst>
              <a:ext uri="{FF2B5EF4-FFF2-40B4-BE49-F238E27FC236}">
                <a16:creationId xmlns="" xmlns:a16="http://schemas.microsoft.com/office/drawing/2014/main" id="{00000000-0008-0000-0300-00005600000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-1350246" y="-1204238"/>
            <a:ext cx="14892492" cy="92664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335" name="Группа 334">
            <a:extLst>
              <a:ext uri="{FF2B5EF4-FFF2-40B4-BE49-F238E27FC236}">
                <a16:creationId xmlns="" xmlns:a16="http://schemas.microsoft.com/office/drawing/2014/main" id="{D5CD65D8-9B4E-4776-90F2-8558B4652329}"/>
              </a:ext>
            </a:extLst>
          </p:cNvPr>
          <p:cNvGrpSpPr/>
          <p:nvPr/>
        </p:nvGrpSpPr>
        <p:grpSpPr>
          <a:xfrm>
            <a:off x="445459" y="1503170"/>
            <a:ext cx="8629906" cy="5650160"/>
            <a:chOff x="4244881" y="139462"/>
            <a:chExt cx="16712357" cy="9680918"/>
          </a:xfrm>
        </p:grpSpPr>
        <p:sp>
          <p:nvSpPr>
            <p:cNvPr id="343" name="Line 1258">
              <a:extLst>
                <a:ext uri="{FF2B5EF4-FFF2-40B4-BE49-F238E27FC236}">
                  <a16:creationId xmlns="" xmlns:a16="http://schemas.microsoft.com/office/drawing/2014/main" id="{00000000-0008-0000-0300-0000F60000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738206" y="9378311"/>
              <a:ext cx="0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44" name="Line 1259">
              <a:extLst>
                <a:ext uri="{FF2B5EF4-FFF2-40B4-BE49-F238E27FC236}">
                  <a16:creationId xmlns="" xmlns:a16="http://schemas.microsoft.com/office/drawing/2014/main" id="{00000000-0008-0000-0300-0000F70000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97550" y="9525668"/>
              <a:ext cx="0" cy="0"/>
            </a:xfrm>
            <a:prstGeom prst="line">
              <a:avLst/>
            </a:prstGeom>
            <a:noFill/>
            <a:ln w="6350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45" name="Line 1260">
              <a:extLst>
                <a:ext uri="{FF2B5EF4-FFF2-40B4-BE49-F238E27FC236}">
                  <a16:creationId xmlns="" xmlns:a16="http://schemas.microsoft.com/office/drawing/2014/main" id="{00000000-0008-0000-0300-0000F80000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054049" y="9673024"/>
              <a:ext cx="0" cy="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46" name="Line 1261">
              <a:extLst>
                <a:ext uri="{FF2B5EF4-FFF2-40B4-BE49-F238E27FC236}">
                  <a16:creationId xmlns="" xmlns:a16="http://schemas.microsoft.com/office/drawing/2014/main" id="{00000000-0008-0000-0300-0000F90000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210528" y="9820380"/>
              <a:ext cx="0" cy="0"/>
            </a:xfrm>
            <a:prstGeom prst="line">
              <a:avLst/>
            </a:prstGeom>
            <a:noFill/>
            <a:ln w="6350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52" name="Камчатский край">
              <a:extLst>
                <a:ext uri="{FF2B5EF4-FFF2-40B4-BE49-F238E27FC236}">
                  <a16:creationId xmlns="" xmlns:a16="http://schemas.microsoft.com/office/drawing/2014/main" id="{00000000-0008-0000-0300-00003B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60002" y="1770548"/>
              <a:ext cx="2197236" cy="2884351"/>
            </a:xfrm>
            <a:custGeom>
              <a:avLst/>
              <a:gdLst/>
              <a:ahLst/>
              <a:cxnLst>
                <a:cxn ang="0">
                  <a:pos x="1737" y="3774"/>
                </a:cxn>
                <a:cxn ang="0">
                  <a:pos x="1565" y="3491"/>
                </a:cxn>
                <a:cxn ang="0">
                  <a:pos x="1421" y="2670"/>
                </a:cxn>
                <a:cxn ang="0">
                  <a:pos x="1248" y="2009"/>
                </a:cxn>
                <a:cxn ang="0">
                  <a:pos x="933" y="1542"/>
                </a:cxn>
                <a:cxn ang="0">
                  <a:pos x="936" y="1433"/>
                </a:cxn>
                <a:cxn ang="0">
                  <a:pos x="802" y="1294"/>
                </a:cxn>
                <a:cxn ang="0">
                  <a:pos x="663" y="1603"/>
                </a:cxn>
                <a:cxn ang="0">
                  <a:pos x="880" y="1838"/>
                </a:cxn>
                <a:cxn ang="0">
                  <a:pos x="744" y="1760"/>
                </a:cxn>
                <a:cxn ang="0">
                  <a:pos x="400" y="1529"/>
                </a:cxn>
                <a:cxn ang="0">
                  <a:pos x="176" y="1321"/>
                </a:cxn>
                <a:cxn ang="0">
                  <a:pos x="0" y="1166"/>
                </a:cxn>
                <a:cxn ang="0">
                  <a:pos x="328" y="744"/>
                </a:cxn>
                <a:cxn ang="0">
                  <a:pos x="509" y="606"/>
                </a:cxn>
                <a:cxn ang="0">
                  <a:pos x="871" y="624"/>
                </a:cxn>
                <a:cxn ang="0">
                  <a:pos x="1053" y="689"/>
                </a:cxn>
                <a:cxn ang="0">
                  <a:pos x="1365" y="616"/>
                </a:cxn>
                <a:cxn ang="0">
                  <a:pos x="1424" y="358"/>
                </a:cxn>
                <a:cxn ang="0">
                  <a:pos x="1504" y="53"/>
                </a:cxn>
                <a:cxn ang="0">
                  <a:pos x="1597" y="0"/>
                </a:cxn>
                <a:cxn ang="0">
                  <a:pos x="1831" y="400"/>
                </a:cxn>
                <a:cxn ang="0">
                  <a:pos x="2032" y="942"/>
                </a:cxn>
                <a:cxn ang="0">
                  <a:pos x="1733" y="1057"/>
                </a:cxn>
                <a:cxn ang="0">
                  <a:pos x="1704" y="1493"/>
                </a:cxn>
                <a:cxn ang="0">
                  <a:pos x="1576" y="1677"/>
                </a:cxn>
                <a:cxn ang="0">
                  <a:pos x="1568" y="1920"/>
                </a:cxn>
                <a:cxn ang="0">
                  <a:pos x="1932" y="2667"/>
                </a:cxn>
                <a:cxn ang="0">
                  <a:pos x="2067" y="2622"/>
                </a:cxn>
                <a:cxn ang="0">
                  <a:pos x="2162" y="2517"/>
                </a:cxn>
                <a:cxn ang="0">
                  <a:pos x="2327" y="2679"/>
                </a:cxn>
                <a:cxn ang="0">
                  <a:pos x="2620" y="3005"/>
                </a:cxn>
                <a:cxn ang="0">
                  <a:pos x="2975" y="3270"/>
                </a:cxn>
                <a:cxn ang="0">
                  <a:pos x="2904" y="3761"/>
                </a:cxn>
                <a:cxn ang="0">
                  <a:pos x="3213" y="4355"/>
                </a:cxn>
                <a:cxn ang="0">
                  <a:pos x="3500" y="4966"/>
                </a:cxn>
                <a:cxn ang="0">
                  <a:pos x="1931" y="4099"/>
                </a:cxn>
              </a:cxnLst>
              <a:rect l="0" t="0" r="r" b="b"/>
              <a:pathLst>
                <a:path w="3500" h="4966">
                  <a:moveTo>
                    <a:pt x="1766" y="3915"/>
                  </a:moveTo>
                  <a:cubicBezTo>
                    <a:pt x="1709" y="3693"/>
                    <a:pt x="1769" y="3917"/>
                    <a:pt x="1737" y="3774"/>
                  </a:cubicBezTo>
                  <a:cubicBezTo>
                    <a:pt x="1703" y="3630"/>
                    <a:pt x="1709" y="3619"/>
                    <a:pt x="1639" y="3557"/>
                  </a:cubicBezTo>
                  <a:lnTo>
                    <a:pt x="1565" y="3491"/>
                  </a:lnTo>
                  <a:lnTo>
                    <a:pt x="1592" y="3376"/>
                  </a:lnTo>
                  <a:cubicBezTo>
                    <a:pt x="1626" y="3238"/>
                    <a:pt x="1639" y="3288"/>
                    <a:pt x="1421" y="2670"/>
                  </a:cubicBezTo>
                  <a:lnTo>
                    <a:pt x="1260" y="2214"/>
                  </a:lnTo>
                  <a:lnTo>
                    <a:pt x="1248" y="2009"/>
                  </a:lnTo>
                  <a:cubicBezTo>
                    <a:pt x="1234" y="1771"/>
                    <a:pt x="1228" y="1755"/>
                    <a:pt x="1077" y="1648"/>
                  </a:cubicBezTo>
                  <a:cubicBezTo>
                    <a:pt x="1020" y="1608"/>
                    <a:pt x="956" y="1560"/>
                    <a:pt x="933" y="1542"/>
                  </a:cubicBezTo>
                  <a:lnTo>
                    <a:pt x="896" y="1510"/>
                  </a:lnTo>
                  <a:lnTo>
                    <a:pt x="936" y="1433"/>
                  </a:lnTo>
                  <a:cubicBezTo>
                    <a:pt x="994" y="1326"/>
                    <a:pt x="981" y="1294"/>
                    <a:pt x="880" y="1294"/>
                  </a:cubicBezTo>
                  <a:lnTo>
                    <a:pt x="802" y="1294"/>
                  </a:lnTo>
                  <a:lnTo>
                    <a:pt x="728" y="1430"/>
                  </a:lnTo>
                  <a:cubicBezTo>
                    <a:pt x="676" y="1528"/>
                    <a:pt x="656" y="1577"/>
                    <a:pt x="663" y="1603"/>
                  </a:cubicBezTo>
                  <a:cubicBezTo>
                    <a:pt x="669" y="1622"/>
                    <a:pt x="720" y="1677"/>
                    <a:pt x="776" y="1723"/>
                  </a:cubicBezTo>
                  <a:cubicBezTo>
                    <a:pt x="840" y="1774"/>
                    <a:pt x="880" y="1821"/>
                    <a:pt x="880" y="1838"/>
                  </a:cubicBezTo>
                  <a:cubicBezTo>
                    <a:pt x="880" y="1856"/>
                    <a:pt x="876" y="1870"/>
                    <a:pt x="869" y="1870"/>
                  </a:cubicBezTo>
                  <a:cubicBezTo>
                    <a:pt x="863" y="1870"/>
                    <a:pt x="807" y="1821"/>
                    <a:pt x="744" y="1760"/>
                  </a:cubicBezTo>
                  <a:cubicBezTo>
                    <a:pt x="623" y="1641"/>
                    <a:pt x="559" y="1608"/>
                    <a:pt x="500" y="1635"/>
                  </a:cubicBezTo>
                  <a:cubicBezTo>
                    <a:pt x="455" y="1654"/>
                    <a:pt x="447" y="1646"/>
                    <a:pt x="400" y="1529"/>
                  </a:cubicBezTo>
                  <a:cubicBezTo>
                    <a:pt x="368" y="1445"/>
                    <a:pt x="360" y="1438"/>
                    <a:pt x="314" y="1438"/>
                  </a:cubicBezTo>
                  <a:cubicBezTo>
                    <a:pt x="247" y="1437"/>
                    <a:pt x="237" y="1429"/>
                    <a:pt x="176" y="1321"/>
                  </a:cubicBezTo>
                  <a:cubicBezTo>
                    <a:pt x="132" y="1240"/>
                    <a:pt x="119" y="1229"/>
                    <a:pt x="63" y="1219"/>
                  </a:cubicBezTo>
                  <a:cubicBezTo>
                    <a:pt x="8" y="1211"/>
                    <a:pt x="0" y="1205"/>
                    <a:pt x="0" y="1166"/>
                  </a:cubicBezTo>
                  <a:cubicBezTo>
                    <a:pt x="0" y="1113"/>
                    <a:pt x="52" y="1043"/>
                    <a:pt x="181" y="920"/>
                  </a:cubicBezTo>
                  <a:cubicBezTo>
                    <a:pt x="236" y="867"/>
                    <a:pt x="303" y="787"/>
                    <a:pt x="328" y="744"/>
                  </a:cubicBezTo>
                  <a:cubicBezTo>
                    <a:pt x="368" y="677"/>
                    <a:pt x="384" y="662"/>
                    <a:pt x="429" y="657"/>
                  </a:cubicBezTo>
                  <a:cubicBezTo>
                    <a:pt x="469" y="654"/>
                    <a:pt x="490" y="641"/>
                    <a:pt x="509" y="606"/>
                  </a:cubicBezTo>
                  <a:cubicBezTo>
                    <a:pt x="532" y="568"/>
                    <a:pt x="556" y="557"/>
                    <a:pt x="644" y="536"/>
                  </a:cubicBezTo>
                  <a:cubicBezTo>
                    <a:pt x="804" y="499"/>
                    <a:pt x="802" y="499"/>
                    <a:pt x="871" y="624"/>
                  </a:cubicBezTo>
                  <a:cubicBezTo>
                    <a:pt x="904" y="686"/>
                    <a:pt x="941" y="741"/>
                    <a:pt x="954" y="745"/>
                  </a:cubicBezTo>
                  <a:cubicBezTo>
                    <a:pt x="967" y="750"/>
                    <a:pt x="1012" y="725"/>
                    <a:pt x="1053" y="689"/>
                  </a:cubicBezTo>
                  <a:cubicBezTo>
                    <a:pt x="1127" y="629"/>
                    <a:pt x="1138" y="624"/>
                    <a:pt x="1248" y="621"/>
                  </a:cubicBezTo>
                  <a:lnTo>
                    <a:pt x="1365" y="616"/>
                  </a:lnTo>
                  <a:lnTo>
                    <a:pt x="1394" y="512"/>
                  </a:lnTo>
                  <a:cubicBezTo>
                    <a:pt x="1410" y="454"/>
                    <a:pt x="1424" y="385"/>
                    <a:pt x="1424" y="358"/>
                  </a:cubicBezTo>
                  <a:cubicBezTo>
                    <a:pt x="1424" y="331"/>
                    <a:pt x="1442" y="264"/>
                    <a:pt x="1464" y="208"/>
                  </a:cubicBezTo>
                  <a:cubicBezTo>
                    <a:pt x="1487" y="152"/>
                    <a:pt x="1504" y="81"/>
                    <a:pt x="1504" y="53"/>
                  </a:cubicBezTo>
                  <a:lnTo>
                    <a:pt x="1504" y="0"/>
                  </a:lnTo>
                  <a:lnTo>
                    <a:pt x="1597" y="0"/>
                  </a:lnTo>
                  <a:cubicBezTo>
                    <a:pt x="1647" y="0"/>
                    <a:pt x="1696" y="5"/>
                    <a:pt x="1706" y="11"/>
                  </a:cubicBezTo>
                  <a:cubicBezTo>
                    <a:pt x="1716" y="17"/>
                    <a:pt x="1772" y="192"/>
                    <a:pt x="1831" y="400"/>
                  </a:cubicBezTo>
                  <a:cubicBezTo>
                    <a:pt x="1901" y="649"/>
                    <a:pt x="1952" y="801"/>
                    <a:pt x="1984" y="853"/>
                  </a:cubicBezTo>
                  <a:cubicBezTo>
                    <a:pt x="2012" y="894"/>
                    <a:pt x="2032" y="936"/>
                    <a:pt x="2032" y="942"/>
                  </a:cubicBezTo>
                  <a:cubicBezTo>
                    <a:pt x="2032" y="949"/>
                    <a:pt x="1968" y="974"/>
                    <a:pt x="1890" y="997"/>
                  </a:cubicBezTo>
                  <a:cubicBezTo>
                    <a:pt x="1812" y="1019"/>
                    <a:pt x="1741" y="1048"/>
                    <a:pt x="1733" y="1057"/>
                  </a:cubicBezTo>
                  <a:cubicBezTo>
                    <a:pt x="1724" y="1069"/>
                    <a:pt x="1709" y="1158"/>
                    <a:pt x="1700" y="1257"/>
                  </a:cubicBezTo>
                  <a:cubicBezTo>
                    <a:pt x="1685" y="1408"/>
                    <a:pt x="1685" y="1445"/>
                    <a:pt x="1704" y="1493"/>
                  </a:cubicBezTo>
                  <a:cubicBezTo>
                    <a:pt x="1741" y="1581"/>
                    <a:pt x="1735" y="1587"/>
                    <a:pt x="1655" y="1544"/>
                  </a:cubicBezTo>
                  <a:cubicBezTo>
                    <a:pt x="1514" y="1465"/>
                    <a:pt x="1498" y="1493"/>
                    <a:pt x="1576" y="1677"/>
                  </a:cubicBezTo>
                  <a:cubicBezTo>
                    <a:pt x="1607" y="1749"/>
                    <a:pt x="1632" y="1816"/>
                    <a:pt x="1632" y="1824"/>
                  </a:cubicBezTo>
                  <a:cubicBezTo>
                    <a:pt x="1632" y="1832"/>
                    <a:pt x="1604" y="1875"/>
                    <a:pt x="1568" y="1920"/>
                  </a:cubicBezTo>
                  <a:cubicBezTo>
                    <a:pt x="1533" y="1965"/>
                    <a:pt x="1504" y="2006"/>
                    <a:pt x="1504" y="2013"/>
                  </a:cubicBezTo>
                  <a:cubicBezTo>
                    <a:pt x="1504" y="2049"/>
                    <a:pt x="1895" y="2648"/>
                    <a:pt x="1932" y="2667"/>
                  </a:cubicBezTo>
                  <a:cubicBezTo>
                    <a:pt x="1948" y="2675"/>
                    <a:pt x="1997" y="2677"/>
                    <a:pt x="2040" y="2672"/>
                  </a:cubicBezTo>
                  <a:lnTo>
                    <a:pt x="2067" y="2622"/>
                  </a:lnTo>
                  <a:lnTo>
                    <a:pt x="2078" y="2552"/>
                  </a:lnTo>
                  <a:cubicBezTo>
                    <a:pt x="2114" y="2512"/>
                    <a:pt x="2136" y="2525"/>
                    <a:pt x="2162" y="2517"/>
                  </a:cubicBezTo>
                  <a:cubicBezTo>
                    <a:pt x="2195" y="2507"/>
                    <a:pt x="2216" y="2545"/>
                    <a:pt x="2242" y="2592"/>
                  </a:cubicBezTo>
                  <a:cubicBezTo>
                    <a:pt x="2252" y="2611"/>
                    <a:pt x="2299" y="2635"/>
                    <a:pt x="2327" y="2679"/>
                  </a:cubicBezTo>
                  <a:cubicBezTo>
                    <a:pt x="2430" y="2749"/>
                    <a:pt x="2561" y="2722"/>
                    <a:pt x="2658" y="2769"/>
                  </a:cubicBezTo>
                  <a:cubicBezTo>
                    <a:pt x="2621" y="2914"/>
                    <a:pt x="2632" y="3076"/>
                    <a:pt x="2620" y="3005"/>
                  </a:cubicBezTo>
                  <a:cubicBezTo>
                    <a:pt x="2597" y="2865"/>
                    <a:pt x="2662" y="3083"/>
                    <a:pt x="2719" y="3187"/>
                  </a:cubicBezTo>
                  <a:lnTo>
                    <a:pt x="2975" y="3270"/>
                  </a:lnTo>
                  <a:lnTo>
                    <a:pt x="2991" y="3375"/>
                  </a:lnTo>
                  <a:cubicBezTo>
                    <a:pt x="2868" y="3480"/>
                    <a:pt x="2915" y="3779"/>
                    <a:pt x="2904" y="3761"/>
                  </a:cubicBezTo>
                  <a:cubicBezTo>
                    <a:pt x="2844" y="3661"/>
                    <a:pt x="2900" y="3763"/>
                    <a:pt x="3152" y="3925"/>
                  </a:cubicBezTo>
                  <a:cubicBezTo>
                    <a:pt x="3216" y="3968"/>
                    <a:pt x="3133" y="4250"/>
                    <a:pt x="3213" y="4355"/>
                  </a:cubicBezTo>
                  <a:cubicBezTo>
                    <a:pt x="3346" y="4484"/>
                    <a:pt x="3358" y="4499"/>
                    <a:pt x="3420" y="4622"/>
                  </a:cubicBezTo>
                  <a:lnTo>
                    <a:pt x="3500" y="4966"/>
                  </a:lnTo>
                  <a:lnTo>
                    <a:pt x="2096" y="4278"/>
                  </a:lnTo>
                  <a:cubicBezTo>
                    <a:pt x="2016" y="4203"/>
                    <a:pt x="1936" y="4098"/>
                    <a:pt x="1931" y="4099"/>
                  </a:cubicBezTo>
                  <a:cubicBezTo>
                    <a:pt x="1927" y="4101"/>
                    <a:pt x="1815" y="3969"/>
                    <a:pt x="1766" y="3915"/>
                  </a:cubicBezTo>
                  <a:close/>
                </a:path>
              </a:pathLst>
            </a:custGeom>
            <a:solidFill>
              <a:srgbClr val="E1EFF6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53" name="Алтайский край">
              <a:extLst>
                <a:ext uri="{FF2B5EF4-FFF2-40B4-BE49-F238E27FC236}">
                  <a16:creationId xmlns="" xmlns:a16="http://schemas.microsoft.com/office/drawing/2014/main" id="{00000000-0008-0000-0300-00003C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4526" y="7797273"/>
              <a:ext cx="1213998" cy="801721"/>
            </a:xfrm>
            <a:custGeom>
              <a:avLst/>
              <a:gdLst/>
              <a:ahLst/>
              <a:cxnLst>
                <a:cxn ang="0">
                  <a:pos x="710" y="0"/>
                </a:cxn>
                <a:cxn ang="0">
                  <a:pos x="546" y="69"/>
                </a:cxn>
                <a:cxn ang="0">
                  <a:pos x="202" y="165"/>
                </a:cxn>
                <a:cxn ang="0">
                  <a:pos x="0" y="211"/>
                </a:cxn>
                <a:cxn ang="0">
                  <a:pos x="232" y="811"/>
                </a:cxn>
                <a:cxn ang="0">
                  <a:pos x="357" y="1134"/>
                </a:cxn>
                <a:cxn ang="0">
                  <a:pos x="429" y="1053"/>
                </a:cxn>
                <a:cxn ang="0">
                  <a:pos x="606" y="1155"/>
                </a:cxn>
                <a:cxn ang="0">
                  <a:pos x="632" y="1246"/>
                </a:cxn>
                <a:cxn ang="0">
                  <a:pos x="714" y="1248"/>
                </a:cxn>
                <a:cxn ang="0">
                  <a:pos x="976" y="1246"/>
                </a:cxn>
                <a:cxn ang="0">
                  <a:pos x="1154" y="1243"/>
                </a:cxn>
                <a:cxn ang="0">
                  <a:pos x="1205" y="1315"/>
                </a:cxn>
                <a:cxn ang="0">
                  <a:pos x="1296" y="1379"/>
                </a:cxn>
                <a:cxn ang="0">
                  <a:pos x="1354" y="1339"/>
                </a:cxn>
                <a:cxn ang="0">
                  <a:pos x="1270" y="1243"/>
                </a:cxn>
                <a:cxn ang="0">
                  <a:pos x="1238" y="1190"/>
                </a:cxn>
                <a:cxn ang="0">
                  <a:pos x="1274" y="1166"/>
                </a:cxn>
                <a:cxn ang="0">
                  <a:pos x="1426" y="1125"/>
                </a:cxn>
                <a:cxn ang="0">
                  <a:pos x="1632" y="981"/>
                </a:cxn>
                <a:cxn ang="0">
                  <a:pos x="1706" y="877"/>
                </a:cxn>
                <a:cxn ang="0">
                  <a:pos x="1792" y="885"/>
                </a:cxn>
                <a:cxn ang="0">
                  <a:pos x="1886" y="853"/>
                </a:cxn>
                <a:cxn ang="0">
                  <a:pos x="1920" y="741"/>
                </a:cxn>
                <a:cxn ang="0">
                  <a:pos x="1933" y="541"/>
                </a:cxn>
                <a:cxn ang="0">
                  <a:pos x="1922" y="406"/>
                </a:cxn>
                <a:cxn ang="0">
                  <a:pos x="1768" y="227"/>
                </a:cxn>
                <a:cxn ang="0">
                  <a:pos x="1597" y="46"/>
                </a:cxn>
                <a:cxn ang="0">
                  <a:pos x="1558" y="70"/>
                </a:cxn>
                <a:cxn ang="0">
                  <a:pos x="1334" y="142"/>
                </a:cxn>
                <a:cxn ang="0">
                  <a:pos x="1186" y="158"/>
                </a:cxn>
                <a:cxn ang="0">
                  <a:pos x="1106" y="246"/>
                </a:cxn>
                <a:cxn ang="0">
                  <a:pos x="1006" y="333"/>
                </a:cxn>
                <a:cxn ang="0">
                  <a:pos x="850" y="165"/>
                </a:cxn>
                <a:cxn ang="0">
                  <a:pos x="710" y="0"/>
                </a:cxn>
              </a:cxnLst>
              <a:rect l="0" t="0" r="r" b="b"/>
              <a:pathLst>
                <a:path w="1941" h="1385">
                  <a:moveTo>
                    <a:pt x="710" y="0"/>
                  </a:moveTo>
                  <a:lnTo>
                    <a:pt x="546" y="69"/>
                  </a:lnTo>
                  <a:cubicBezTo>
                    <a:pt x="427" y="117"/>
                    <a:pt x="330" y="145"/>
                    <a:pt x="202" y="165"/>
                  </a:cubicBezTo>
                  <a:lnTo>
                    <a:pt x="0" y="211"/>
                  </a:lnTo>
                  <a:cubicBezTo>
                    <a:pt x="48" y="288"/>
                    <a:pt x="83" y="393"/>
                    <a:pt x="232" y="811"/>
                  </a:cubicBezTo>
                  <a:cubicBezTo>
                    <a:pt x="296" y="990"/>
                    <a:pt x="352" y="1134"/>
                    <a:pt x="357" y="1134"/>
                  </a:cubicBezTo>
                  <a:cubicBezTo>
                    <a:pt x="363" y="1134"/>
                    <a:pt x="395" y="1097"/>
                    <a:pt x="429" y="1053"/>
                  </a:cubicBezTo>
                  <a:cubicBezTo>
                    <a:pt x="517" y="934"/>
                    <a:pt x="549" y="953"/>
                    <a:pt x="606" y="1155"/>
                  </a:cubicBezTo>
                  <a:lnTo>
                    <a:pt x="632" y="1246"/>
                  </a:lnTo>
                  <a:lnTo>
                    <a:pt x="714" y="1248"/>
                  </a:lnTo>
                  <a:cubicBezTo>
                    <a:pt x="760" y="1249"/>
                    <a:pt x="878" y="1249"/>
                    <a:pt x="976" y="1246"/>
                  </a:cubicBezTo>
                  <a:lnTo>
                    <a:pt x="1154" y="1243"/>
                  </a:lnTo>
                  <a:lnTo>
                    <a:pt x="1205" y="1315"/>
                  </a:lnTo>
                  <a:cubicBezTo>
                    <a:pt x="1248" y="1374"/>
                    <a:pt x="1264" y="1385"/>
                    <a:pt x="1296" y="1379"/>
                  </a:cubicBezTo>
                  <a:cubicBezTo>
                    <a:pt x="1318" y="1374"/>
                    <a:pt x="1342" y="1357"/>
                    <a:pt x="1354" y="1339"/>
                  </a:cubicBezTo>
                  <a:cubicBezTo>
                    <a:pt x="1373" y="1302"/>
                    <a:pt x="1366" y="1297"/>
                    <a:pt x="1270" y="1243"/>
                  </a:cubicBezTo>
                  <a:cubicBezTo>
                    <a:pt x="1227" y="1219"/>
                    <a:pt x="1222" y="1209"/>
                    <a:pt x="1238" y="1190"/>
                  </a:cubicBezTo>
                  <a:cubicBezTo>
                    <a:pt x="1250" y="1176"/>
                    <a:pt x="1264" y="1166"/>
                    <a:pt x="1274" y="1166"/>
                  </a:cubicBezTo>
                  <a:cubicBezTo>
                    <a:pt x="1283" y="1166"/>
                    <a:pt x="1350" y="1147"/>
                    <a:pt x="1426" y="1125"/>
                  </a:cubicBezTo>
                  <a:cubicBezTo>
                    <a:pt x="1555" y="1085"/>
                    <a:pt x="1558" y="1083"/>
                    <a:pt x="1632" y="981"/>
                  </a:cubicBezTo>
                  <a:lnTo>
                    <a:pt x="1706" y="877"/>
                  </a:lnTo>
                  <a:lnTo>
                    <a:pt x="1792" y="885"/>
                  </a:lnTo>
                  <a:cubicBezTo>
                    <a:pt x="1875" y="896"/>
                    <a:pt x="1877" y="897"/>
                    <a:pt x="1886" y="853"/>
                  </a:cubicBezTo>
                  <a:cubicBezTo>
                    <a:pt x="1893" y="827"/>
                    <a:pt x="1907" y="777"/>
                    <a:pt x="1920" y="741"/>
                  </a:cubicBezTo>
                  <a:cubicBezTo>
                    <a:pt x="1938" y="693"/>
                    <a:pt x="1941" y="641"/>
                    <a:pt x="1933" y="541"/>
                  </a:cubicBezTo>
                  <a:lnTo>
                    <a:pt x="1922" y="406"/>
                  </a:lnTo>
                  <a:lnTo>
                    <a:pt x="1768" y="227"/>
                  </a:lnTo>
                  <a:cubicBezTo>
                    <a:pt x="1683" y="128"/>
                    <a:pt x="1606" y="46"/>
                    <a:pt x="1597" y="46"/>
                  </a:cubicBezTo>
                  <a:cubicBezTo>
                    <a:pt x="1587" y="46"/>
                    <a:pt x="1570" y="57"/>
                    <a:pt x="1558" y="70"/>
                  </a:cubicBezTo>
                  <a:cubicBezTo>
                    <a:pt x="1523" y="113"/>
                    <a:pt x="1486" y="125"/>
                    <a:pt x="1334" y="142"/>
                  </a:cubicBezTo>
                  <a:lnTo>
                    <a:pt x="1186" y="158"/>
                  </a:lnTo>
                  <a:lnTo>
                    <a:pt x="1106" y="246"/>
                  </a:lnTo>
                  <a:cubicBezTo>
                    <a:pt x="1061" y="296"/>
                    <a:pt x="1016" y="334"/>
                    <a:pt x="1006" y="333"/>
                  </a:cubicBezTo>
                  <a:cubicBezTo>
                    <a:pt x="997" y="329"/>
                    <a:pt x="923" y="254"/>
                    <a:pt x="850" y="165"/>
                  </a:cubicBezTo>
                  <a:lnTo>
                    <a:pt x="710" y="0"/>
                  </a:lnTo>
                  <a:close/>
                </a:path>
              </a:pathLst>
            </a:custGeom>
            <a:solidFill>
              <a:srgbClr val="5B93D7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54" name="Амурская область">
              <a:extLst>
                <a:ext uri="{FF2B5EF4-FFF2-40B4-BE49-F238E27FC236}">
                  <a16:creationId xmlns="" xmlns:a16="http://schemas.microsoft.com/office/drawing/2014/main" id="{00000000-0008-0000-0300-00003D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62105" y="6120112"/>
              <a:ext cx="2177170" cy="1354631"/>
            </a:xfrm>
            <a:custGeom>
              <a:avLst/>
              <a:gdLst/>
              <a:ahLst/>
              <a:cxnLst>
                <a:cxn ang="0">
                  <a:pos x="2120" y="1889"/>
                </a:cxn>
                <a:cxn ang="0">
                  <a:pos x="1525" y="1569"/>
                </a:cxn>
                <a:cxn ang="0">
                  <a:pos x="980" y="1692"/>
                </a:cxn>
                <a:cxn ang="0">
                  <a:pos x="696" y="1595"/>
                </a:cxn>
                <a:cxn ang="0">
                  <a:pos x="708" y="1420"/>
                </a:cxn>
                <a:cxn ang="0">
                  <a:pos x="546" y="1081"/>
                </a:cxn>
                <a:cxn ang="0">
                  <a:pos x="432" y="1161"/>
                </a:cxn>
                <a:cxn ang="0">
                  <a:pos x="301" y="1017"/>
                </a:cxn>
                <a:cxn ang="0">
                  <a:pos x="156" y="1011"/>
                </a:cxn>
                <a:cxn ang="0">
                  <a:pos x="0" y="852"/>
                </a:cxn>
                <a:cxn ang="0">
                  <a:pos x="229" y="739"/>
                </a:cxn>
                <a:cxn ang="0">
                  <a:pos x="765" y="675"/>
                </a:cxn>
                <a:cxn ang="0">
                  <a:pos x="1082" y="736"/>
                </a:cxn>
                <a:cxn ang="0">
                  <a:pos x="1458" y="622"/>
                </a:cxn>
                <a:cxn ang="0">
                  <a:pos x="1831" y="433"/>
                </a:cxn>
                <a:cxn ang="0">
                  <a:pos x="2170" y="153"/>
                </a:cxn>
                <a:cxn ang="0">
                  <a:pos x="2436" y="267"/>
                </a:cxn>
                <a:cxn ang="0">
                  <a:pos x="2477" y="745"/>
                </a:cxn>
                <a:cxn ang="0">
                  <a:pos x="2655" y="777"/>
                </a:cxn>
                <a:cxn ang="0">
                  <a:pos x="2876" y="729"/>
                </a:cxn>
                <a:cxn ang="0">
                  <a:pos x="3063" y="505"/>
                </a:cxn>
                <a:cxn ang="0">
                  <a:pos x="3247" y="340"/>
                </a:cxn>
                <a:cxn ang="0">
                  <a:pos x="3370" y="611"/>
                </a:cxn>
                <a:cxn ang="0">
                  <a:pos x="3264" y="713"/>
                </a:cxn>
                <a:cxn ang="0">
                  <a:pos x="3186" y="851"/>
                </a:cxn>
                <a:cxn ang="0">
                  <a:pos x="3196" y="937"/>
                </a:cxn>
                <a:cxn ang="0">
                  <a:pos x="3085" y="1203"/>
                </a:cxn>
                <a:cxn ang="0">
                  <a:pos x="3093" y="1716"/>
                </a:cxn>
                <a:cxn ang="0">
                  <a:pos x="3389" y="1870"/>
                </a:cxn>
                <a:cxn ang="0">
                  <a:pos x="3439" y="2123"/>
                </a:cxn>
                <a:cxn ang="0">
                  <a:pos x="3194" y="2248"/>
                </a:cxn>
                <a:cxn ang="0">
                  <a:pos x="2652" y="2361"/>
                </a:cxn>
              </a:cxnLst>
              <a:rect l="0" t="0" r="r" b="b"/>
              <a:pathLst>
                <a:path w="3472" h="2361">
                  <a:moveTo>
                    <a:pt x="2476" y="2214"/>
                  </a:moveTo>
                  <a:cubicBezTo>
                    <a:pt x="2386" y="2132"/>
                    <a:pt x="2226" y="1987"/>
                    <a:pt x="2120" y="1889"/>
                  </a:cubicBezTo>
                  <a:cubicBezTo>
                    <a:pt x="1759" y="1556"/>
                    <a:pt x="1772" y="1564"/>
                    <a:pt x="1664" y="1553"/>
                  </a:cubicBezTo>
                  <a:cubicBezTo>
                    <a:pt x="1586" y="1544"/>
                    <a:pt x="1560" y="1547"/>
                    <a:pt x="1525" y="1569"/>
                  </a:cubicBezTo>
                  <a:cubicBezTo>
                    <a:pt x="1490" y="1593"/>
                    <a:pt x="1461" y="1595"/>
                    <a:pt x="1335" y="1585"/>
                  </a:cubicBezTo>
                  <a:cubicBezTo>
                    <a:pt x="1173" y="1574"/>
                    <a:pt x="1136" y="1585"/>
                    <a:pt x="980" y="1692"/>
                  </a:cubicBezTo>
                  <a:cubicBezTo>
                    <a:pt x="896" y="1750"/>
                    <a:pt x="868" y="1745"/>
                    <a:pt x="768" y="1657"/>
                  </a:cubicBezTo>
                  <a:lnTo>
                    <a:pt x="696" y="1595"/>
                  </a:lnTo>
                  <a:lnTo>
                    <a:pt x="725" y="1547"/>
                  </a:lnTo>
                  <a:cubicBezTo>
                    <a:pt x="764" y="1483"/>
                    <a:pt x="760" y="1460"/>
                    <a:pt x="708" y="1420"/>
                  </a:cubicBezTo>
                  <a:cubicBezTo>
                    <a:pt x="674" y="1396"/>
                    <a:pt x="655" y="1360"/>
                    <a:pt x="634" y="1286"/>
                  </a:cubicBezTo>
                  <a:cubicBezTo>
                    <a:pt x="583" y="1100"/>
                    <a:pt x="575" y="1081"/>
                    <a:pt x="546" y="1081"/>
                  </a:cubicBezTo>
                  <a:cubicBezTo>
                    <a:pt x="530" y="1081"/>
                    <a:pt x="501" y="1099"/>
                    <a:pt x="480" y="1121"/>
                  </a:cubicBezTo>
                  <a:cubicBezTo>
                    <a:pt x="460" y="1142"/>
                    <a:pt x="439" y="1161"/>
                    <a:pt x="432" y="1161"/>
                  </a:cubicBezTo>
                  <a:cubicBezTo>
                    <a:pt x="428" y="1161"/>
                    <a:pt x="400" y="1128"/>
                    <a:pt x="372" y="1089"/>
                  </a:cubicBezTo>
                  <a:cubicBezTo>
                    <a:pt x="344" y="1049"/>
                    <a:pt x="312" y="1017"/>
                    <a:pt x="301" y="1017"/>
                  </a:cubicBezTo>
                  <a:cubicBezTo>
                    <a:pt x="292" y="1017"/>
                    <a:pt x="263" y="1036"/>
                    <a:pt x="237" y="1059"/>
                  </a:cubicBezTo>
                  <a:cubicBezTo>
                    <a:pt x="181" y="1113"/>
                    <a:pt x="143" y="1091"/>
                    <a:pt x="156" y="1011"/>
                  </a:cubicBezTo>
                  <a:cubicBezTo>
                    <a:pt x="164" y="963"/>
                    <a:pt x="159" y="956"/>
                    <a:pt x="82" y="915"/>
                  </a:cubicBezTo>
                  <a:cubicBezTo>
                    <a:pt x="37" y="891"/>
                    <a:pt x="0" y="862"/>
                    <a:pt x="0" y="852"/>
                  </a:cubicBezTo>
                  <a:cubicBezTo>
                    <a:pt x="0" y="841"/>
                    <a:pt x="37" y="808"/>
                    <a:pt x="82" y="777"/>
                  </a:cubicBezTo>
                  <a:cubicBezTo>
                    <a:pt x="159" y="726"/>
                    <a:pt x="167" y="724"/>
                    <a:pt x="229" y="739"/>
                  </a:cubicBezTo>
                  <a:cubicBezTo>
                    <a:pt x="333" y="766"/>
                    <a:pt x="538" y="752"/>
                    <a:pt x="658" y="710"/>
                  </a:cubicBezTo>
                  <a:lnTo>
                    <a:pt x="765" y="675"/>
                  </a:lnTo>
                  <a:lnTo>
                    <a:pt x="844" y="726"/>
                  </a:lnTo>
                  <a:cubicBezTo>
                    <a:pt x="940" y="787"/>
                    <a:pt x="962" y="788"/>
                    <a:pt x="1082" y="736"/>
                  </a:cubicBezTo>
                  <a:cubicBezTo>
                    <a:pt x="1156" y="702"/>
                    <a:pt x="1192" y="696"/>
                    <a:pt x="1250" y="702"/>
                  </a:cubicBezTo>
                  <a:cubicBezTo>
                    <a:pt x="1320" y="710"/>
                    <a:pt x="1333" y="705"/>
                    <a:pt x="1458" y="622"/>
                  </a:cubicBezTo>
                  <a:cubicBezTo>
                    <a:pt x="1540" y="568"/>
                    <a:pt x="1637" y="518"/>
                    <a:pt x="1703" y="499"/>
                  </a:cubicBezTo>
                  <a:cubicBezTo>
                    <a:pt x="1773" y="476"/>
                    <a:pt x="1820" y="452"/>
                    <a:pt x="1831" y="433"/>
                  </a:cubicBezTo>
                  <a:cubicBezTo>
                    <a:pt x="1893" y="318"/>
                    <a:pt x="1927" y="281"/>
                    <a:pt x="1980" y="272"/>
                  </a:cubicBezTo>
                  <a:cubicBezTo>
                    <a:pt x="2013" y="265"/>
                    <a:pt x="2088" y="217"/>
                    <a:pt x="2170" y="153"/>
                  </a:cubicBezTo>
                  <a:cubicBezTo>
                    <a:pt x="2348" y="12"/>
                    <a:pt x="2375" y="0"/>
                    <a:pt x="2429" y="19"/>
                  </a:cubicBezTo>
                  <a:cubicBezTo>
                    <a:pt x="2492" y="40"/>
                    <a:pt x="2495" y="118"/>
                    <a:pt x="2436" y="267"/>
                  </a:cubicBezTo>
                  <a:cubicBezTo>
                    <a:pt x="2392" y="377"/>
                    <a:pt x="2336" y="638"/>
                    <a:pt x="2336" y="734"/>
                  </a:cubicBezTo>
                  <a:cubicBezTo>
                    <a:pt x="2336" y="785"/>
                    <a:pt x="2346" y="785"/>
                    <a:pt x="2477" y="745"/>
                  </a:cubicBezTo>
                  <a:cubicBezTo>
                    <a:pt x="2533" y="728"/>
                    <a:pt x="2588" y="713"/>
                    <a:pt x="2599" y="713"/>
                  </a:cubicBezTo>
                  <a:cubicBezTo>
                    <a:pt x="2610" y="713"/>
                    <a:pt x="2636" y="742"/>
                    <a:pt x="2655" y="777"/>
                  </a:cubicBezTo>
                  <a:cubicBezTo>
                    <a:pt x="2674" y="812"/>
                    <a:pt x="2698" y="841"/>
                    <a:pt x="2708" y="841"/>
                  </a:cubicBezTo>
                  <a:cubicBezTo>
                    <a:pt x="2717" y="841"/>
                    <a:pt x="2792" y="790"/>
                    <a:pt x="2876" y="729"/>
                  </a:cubicBezTo>
                  <a:cubicBezTo>
                    <a:pt x="3013" y="624"/>
                    <a:pt x="3024" y="612"/>
                    <a:pt x="3024" y="561"/>
                  </a:cubicBezTo>
                  <a:cubicBezTo>
                    <a:pt x="3024" y="512"/>
                    <a:pt x="3029" y="505"/>
                    <a:pt x="3063" y="505"/>
                  </a:cubicBezTo>
                  <a:cubicBezTo>
                    <a:pt x="3090" y="505"/>
                    <a:pt x="3125" y="480"/>
                    <a:pt x="3175" y="422"/>
                  </a:cubicBezTo>
                  <a:lnTo>
                    <a:pt x="3247" y="340"/>
                  </a:lnTo>
                  <a:lnTo>
                    <a:pt x="3296" y="451"/>
                  </a:lnTo>
                  <a:cubicBezTo>
                    <a:pt x="3325" y="512"/>
                    <a:pt x="3357" y="584"/>
                    <a:pt x="3370" y="611"/>
                  </a:cubicBezTo>
                  <a:lnTo>
                    <a:pt x="3391" y="662"/>
                  </a:lnTo>
                  <a:lnTo>
                    <a:pt x="3264" y="713"/>
                  </a:lnTo>
                  <a:cubicBezTo>
                    <a:pt x="3194" y="740"/>
                    <a:pt x="3136" y="772"/>
                    <a:pt x="3136" y="782"/>
                  </a:cubicBezTo>
                  <a:cubicBezTo>
                    <a:pt x="3136" y="792"/>
                    <a:pt x="3159" y="822"/>
                    <a:pt x="3186" y="851"/>
                  </a:cubicBezTo>
                  <a:lnTo>
                    <a:pt x="3236" y="902"/>
                  </a:lnTo>
                  <a:lnTo>
                    <a:pt x="3196" y="937"/>
                  </a:lnTo>
                  <a:cubicBezTo>
                    <a:pt x="3170" y="960"/>
                    <a:pt x="3151" y="998"/>
                    <a:pt x="3144" y="1038"/>
                  </a:cubicBezTo>
                  <a:cubicBezTo>
                    <a:pt x="3138" y="1075"/>
                    <a:pt x="3111" y="1148"/>
                    <a:pt x="3085" y="1203"/>
                  </a:cubicBezTo>
                  <a:cubicBezTo>
                    <a:pt x="3040" y="1297"/>
                    <a:pt x="3037" y="1312"/>
                    <a:pt x="3044" y="1475"/>
                  </a:cubicBezTo>
                  <a:cubicBezTo>
                    <a:pt x="3048" y="1633"/>
                    <a:pt x="3053" y="1656"/>
                    <a:pt x="3093" y="1716"/>
                  </a:cubicBezTo>
                  <a:cubicBezTo>
                    <a:pt x="3135" y="1782"/>
                    <a:pt x="3140" y="1785"/>
                    <a:pt x="3221" y="1785"/>
                  </a:cubicBezTo>
                  <a:cubicBezTo>
                    <a:pt x="3301" y="1785"/>
                    <a:pt x="3309" y="1788"/>
                    <a:pt x="3389" y="1870"/>
                  </a:cubicBezTo>
                  <a:cubicBezTo>
                    <a:pt x="3436" y="1916"/>
                    <a:pt x="3472" y="1964"/>
                    <a:pt x="3472" y="1976"/>
                  </a:cubicBezTo>
                  <a:cubicBezTo>
                    <a:pt x="3472" y="1988"/>
                    <a:pt x="3458" y="2054"/>
                    <a:pt x="3439" y="2123"/>
                  </a:cubicBezTo>
                  <a:cubicBezTo>
                    <a:pt x="3413" y="2217"/>
                    <a:pt x="3397" y="2251"/>
                    <a:pt x="3373" y="2257"/>
                  </a:cubicBezTo>
                  <a:cubicBezTo>
                    <a:pt x="3356" y="2264"/>
                    <a:pt x="3274" y="2259"/>
                    <a:pt x="3194" y="2248"/>
                  </a:cubicBezTo>
                  <a:cubicBezTo>
                    <a:pt x="3056" y="2230"/>
                    <a:pt x="3044" y="2230"/>
                    <a:pt x="2968" y="2262"/>
                  </a:cubicBezTo>
                  <a:cubicBezTo>
                    <a:pt x="2895" y="2294"/>
                    <a:pt x="2680" y="2361"/>
                    <a:pt x="2652" y="2361"/>
                  </a:cubicBezTo>
                  <a:cubicBezTo>
                    <a:pt x="2645" y="2361"/>
                    <a:pt x="2567" y="2294"/>
                    <a:pt x="2476" y="2214"/>
                  </a:cubicBezTo>
                  <a:close/>
                </a:path>
              </a:pathLst>
            </a:custGeom>
            <a:solidFill>
              <a:srgbClr val="1B3F6B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55" name="Архангельская область">
              <a:extLst>
                <a:ext uri="{FF2B5EF4-FFF2-40B4-BE49-F238E27FC236}">
                  <a16:creationId xmlns="" xmlns:a16="http://schemas.microsoft.com/office/drawing/2014/main" id="{00000000-0008-0000-0300-00003E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2598" y="3825532"/>
              <a:ext cx="1585221" cy="1382277"/>
            </a:xfrm>
            <a:custGeom>
              <a:avLst/>
              <a:gdLst/>
              <a:ahLst/>
              <a:cxnLst>
                <a:cxn ang="0">
                  <a:pos x="1403" y="2355"/>
                </a:cxn>
                <a:cxn ang="0">
                  <a:pos x="1230" y="2281"/>
                </a:cxn>
                <a:cxn ang="0">
                  <a:pos x="1168" y="2228"/>
                </a:cxn>
                <a:cxn ang="0">
                  <a:pos x="1074" y="2083"/>
                </a:cxn>
                <a:cxn ang="0">
                  <a:pos x="898" y="2033"/>
                </a:cxn>
                <a:cxn ang="0">
                  <a:pos x="808" y="1900"/>
                </a:cxn>
                <a:cxn ang="0">
                  <a:pos x="589" y="1868"/>
                </a:cxn>
                <a:cxn ang="0">
                  <a:pos x="294" y="1657"/>
                </a:cxn>
                <a:cxn ang="0">
                  <a:pos x="0" y="1352"/>
                </a:cxn>
                <a:cxn ang="0">
                  <a:pos x="80" y="1113"/>
                </a:cxn>
                <a:cxn ang="0">
                  <a:pos x="222" y="944"/>
                </a:cxn>
                <a:cxn ang="0">
                  <a:pos x="296" y="692"/>
                </a:cxn>
                <a:cxn ang="0">
                  <a:pos x="458" y="353"/>
                </a:cxn>
                <a:cxn ang="0">
                  <a:pos x="659" y="481"/>
                </a:cxn>
                <a:cxn ang="0">
                  <a:pos x="797" y="252"/>
                </a:cxn>
                <a:cxn ang="0">
                  <a:pos x="910" y="174"/>
                </a:cxn>
                <a:cxn ang="0">
                  <a:pos x="1027" y="414"/>
                </a:cxn>
                <a:cxn ang="0">
                  <a:pos x="1576" y="195"/>
                </a:cxn>
                <a:cxn ang="0">
                  <a:pos x="1984" y="460"/>
                </a:cxn>
                <a:cxn ang="0">
                  <a:pos x="2258" y="864"/>
                </a:cxn>
                <a:cxn ang="0">
                  <a:pos x="2486" y="868"/>
                </a:cxn>
                <a:cxn ang="0">
                  <a:pos x="2389" y="1145"/>
                </a:cxn>
                <a:cxn ang="0">
                  <a:pos x="2440" y="1404"/>
                </a:cxn>
                <a:cxn ang="0">
                  <a:pos x="2206" y="1393"/>
                </a:cxn>
                <a:cxn ang="0">
                  <a:pos x="1882" y="1185"/>
                </a:cxn>
                <a:cxn ang="0">
                  <a:pos x="1648" y="1192"/>
                </a:cxn>
                <a:cxn ang="0">
                  <a:pos x="1728" y="1467"/>
                </a:cxn>
                <a:cxn ang="0">
                  <a:pos x="1630" y="1686"/>
                </a:cxn>
                <a:cxn ang="0">
                  <a:pos x="1514" y="1939"/>
                </a:cxn>
                <a:cxn ang="0">
                  <a:pos x="1710" y="1953"/>
                </a:cxn>
                <a:cxn ang="0">
                  <a:pos x="1909" y="1926"/>
                </a:cxn>
                <a:cxn ang="0">
                  <a:pos x="1670" y="2275"/>
                </a:cxn>
              </a:cxnLst>
              <a:rect l="0" t="0" r="r" b="b"/>
              <a:pathLst>
                <a:path w="2514" h="2406">
                  <a:moveTo>
                    <a:pt x="1488" y="2369"/>
                  </a:moveTo>
                  <a:cubicBezTo>
                    <a:pt x="1466" y="2361"/>
                    <a:pt x="1427" y="2355"/>
                    <a:pt x="1403" y="2355"/>
                  </a:cubicBezTo>
                  <a:cubicBezTo>
                    <a:pt x="1374" y="2353"/>
                    <a:pt x="1344" y="2337"/>
                    <a:pt x="1325" y="2312"/>
                  </a:cubicBezTo>
                  <a:cubicBezTo>
                    <a:pt x="1296" y="2276"/>
                    <a:pt x="1285" y="2272"/>
                    <a:pt x="1230" y="2281"/>
                  </a:cubicBezTo>
                  <a:lnTo>
                    <a:pt x="1168" y="2291"/>
                  </a:lnTo>
                  <a:lnTo>
                    <a:pt x="1168" y="2228"/>
                  </a:lnTo>
                  <a:cubicBezTo>
                    <a:pt x="1168" y="2179"/>
                    <a:pt x="1162" y="2163"/>
                    <a:pt x="1138" y="2156"/>
                  </a:cubicBezTo>
                  <a:cubicBezTo>
                    <a:pt x="1120" y="2152"/>
                    <a:pt x="1091" y="2118"/>
                    <a:pt x="1074" y="2083"/>
                  </a:cubicBezTo>
                  <a:cubicBezTo>
                    <a:pt x="1040" y="2017"/>
                    <a:pt x="1008" y="2003"/>
                    <a:pt x="962" y="2032"/>
                  </a:cubicBezTo>
                  <a:cubicBezTo>
                    <a:pt x="950" y="2038"/>
                    <a:pt x="922" y="2040"/>
                    <a:pt x="898" y="2033"/>
                  </a:cubicBezTo>
                  <a:cubicBezTo>
                    <a:pt x="864" y="2025"/>
                    <a:pt x="854" y="2011"/>
                    <a:pt x="848" y="1960"/>
                  </a:cubicBezTo>
                  <a:cubicBezTo>
                    <a:pt x="842" y="1908"/>
                    <a:pt x="834" y="1897"/>
                    <a:pt x="808" y="1900"/>
                  </a:cubicBezTo>
                  <a:cubicBezTo>
                    <a:pt x="790" y="1904"/>
                    <a:pt x="744" y="1910"/>
                    <a:pt x="704" y="1915"/>
                  </a:cubicBezTo>
                  <a:cubicBezTo>
                    <a:pt x="635" y="1924"/>
                    <a:pt x="629" y="1921"/>
                    <a:pt x="589" y="1868"/>
                  </a:cubicBezTo>
                  <a:cubicBezTo>
                    <a:pt x="562" y="1833"/>
                    <a:pt x="502" y="1793"/>
                    <a:pt x="426" y="1756"/>
                  </a:cubicBezTo>
                  <a:cubicBezTo>
                    <a:pt x="333" y="1712"/>
                    <a:pt x="302" y="1689"/>
                    <a:pt x="294" y="1657"/>
                  </a:cubicBezTo>
                  <a:cubicBezTo>
                    <a:pt x="288" y="1633"/>
                    <a:pt x="270" y="1612"/>
                    <a:pt x="246" y="1608"/>
                  </a:cubicBezTo>
                  <a:cubicBezTo>
                    <a:pt x="202" y="1596"/>
                    <a:pt x="0" y="1387"/>
                    <a:pt x="0" y="1352"/>
                  </a:cubicBezTo>
                  <a:cubicBezTo>
                    <a:pt x="0" y="1339"/>
                    <a:pt x="18" y="1284"/>
                    <a:pt x="40" y="1233"/>
                  </a:cubicBezTo>
                  <a:cubicBezTo>
                    <a:pt x="62" y="1180"/>
                    <a:pt x="80" y="1128"/>
                    <a:pt x="80" y="1113"/>
                  </a:cubicBezTo>
                  <a:cubicBezTo>
                    <a:pt x="80" y="1100"/>
                    <a:pt x="109" y="1075"/>
                    <a:pt x="142" y="1057"/>
                  </a:cubicBezTo>
                  <a:cubicBezTo>
                    <a:pt x="198" y="1030"/>
                    <a:pt x="208" y="1016"/>
                    <a:pt x="222" y="944"/>
                  </a:cubicBezTo>
                  <a:cubicBezTo>
                    <a:pt x="232" y="897"/>
                    <a:pt x="258" y="840"/>
                    <a:pt x="280" y="814"/>
                  </a:cubicBezTo>
                  <a:cubicBezTo>
                    <a:pt x="317" y="769"/>
                    <a:pt x="318" y="766"/>
                    <a:pt x="296" y="692"/>
                  </a:cubicBezTo>
                  <a:cubicBezTo>
                    <a:pt x="256" y="561"/>
                    <a:pt x="264" y="520"/>
                    <a:pt x="350" y="404"/>
                  </a:cubicBezTo>
                  <a:cubicBezTo>
                    <a:pt x="384" y="361"/>
                    <a:pt x="400" y="353"/>
                    <a:pt x="458" y="353"/>
                  </a:cubicBezTo>
                  <a:cubicBezTo>
                    <a:pt x="510" y="353"/>
                    <a:pt x="526" y="360"/>
                    <a:pt x="533" y="384"/>
                  </a:cubicBezTo>
                  <a:cubicBezTo>
                    <a:pt x="539" y="412"/>
                    <a:pt x="630" y="481"/>
                    <a:pt x="659" y="481"/>
                  </a:cubicBezTo>
                  <a:cubicBezTo>
                    <a:pt x="677" y="481"/>
                    <a:pt x="784" y="384"/>
                    <a:pt x="802" y="352"/>
                  </a:cubicBezTo>
                  <a:cubicBezTo>
                    <a:pt x="811" y="332"/>
                    <a:pt x="810" y="299"/>
                    <a:pt x="797" y="252"/>
                  </a:cubicBezTo>
                  <a:cubicBezTo>
                    <a:pt x="774" y="168"/>
                    <a:pt x="794" y="52"/>
                    <a:pt x="835" y="27"/>
                  </a:cubicBezTo>
                  <a:cubicBezTo>
                    <a:pt x="878" y="0"/>
                    <a:pt x="894" y="28"/>
                    <a:pt x="910" y="174"/>
                  </a:cubicBezTo>
                  <a:lnTo>
                    <a:pt x="925" y="307"/>
                  </a:lnTo>
                  <a:lnTo>
                    <a:pt x="1027" y="414"/>
                  </a:lnTo>
                  <a:cubicBezTo>
                    <a:pt x="1162" y="555"/>
                    <a:pt x="1187" y="558"/>
                    <a:pt x="1230" y="438"/>
                  </a:cubicBezTo>
                  <a:cubicBezTo>
                    <a:pt x="1310" y="216"/>
                    <a:pt x="1339" y="195"/>
                    <a:pt x="1576" y="195"/>
                  </a:cubicBezTo>
                  <a:cubicBezTo>
                    <a:pt x="1782" y="196"/>
                    <a:pt x="1787" y="198"/>
                    <a:pt x="1842" y="329"/>
                  </a:cubicBezTo>
                  <a:cubicBezTo>
                    <a:pt x="1907" y="481"/>
                    <a:pt x="1923" y="496"/>
                    <a:pt x="1984" y="460"/>
                  </a:cubicBezTo>
                  <a:lnTo>
                    <a:pt x="2030" y="432"/>
                  </a:lnTo>
                  <a:lnTo>
                    <a:pt x="2258" y="864"/>
                  </a:lnTo>
                  <a:lnTo>
                    <a:pt x="2357" y="854"/>
                  </a:lnTo>
                  <a:cubicBezTo>
                    <a:pt x="2429" y="848"/>
                    <a:pt x="2464" y="852"/>
                    <a:pt x="2486" y="868"/>
                  </a:cubicBezTo>
                  <a:cubicBezTo>
                    <a:pt x="2514" y="889"/>
                    <a:pt x="2512" y="896"/>
                    <a:pt x="2453" y="1017"/>
                  </a:cubicBezTo>
                  <a:lnTo>
                    <a:pt x="2389" y="1145"/>
                  </a:lnTo>
                  <a:lnTo>
                    <a:pt x="2424" y="1260"/>
                  </a:lnTo>
                  <a:cubicBezTo>
                    <a:pt x="2454" y="1356"/>
                    <a:pt x="2456" y="1380"/>
                    <a:pt x="2440" y="1404"/>
                  </a:cubicBezTo>
                  <a:cubicBezTo>
                    <a:pt x="2421" y="1428"/>
                    <a:pt x="2411" y="1430"/>
                    <a:pt x="2346" y="1412"/>
                  </a:cubicBezTo>
                  <a:cubicBezTo>
                    <a:pt x="2306" y="1401"/>
                    <a:pt x="2243" y="1393"/>
                    <a:pt x="2206" y="1393"/>
                  </a:cubicBezTo>
                  <a:cubicBezTo>
                    <a:pt x="2152" y="1393"/>
                    <a:pt x="2131" y="1382"/>
                    <a:pt x="2064" y="1316"/>
                  </a:cubicBezTo>
                  <a:cubicBezTo>
                    <a:pt x="2021" y="1275"/>
                    <a:pt x="1939" y="1216"/>
                    <a:pt x="1882" y="1185"/>
                  </a:cubicBezTo>
                  <a:cubicBezTo>
                    <a:pt x="1784" y="1134"/>
                    <a:pt x="1774" y="1132"/>
                    <a:pt x="1714" y="1150"/>
                  </a:cubicBezTo>
                  <a:cubicBezTo>
                    <a:pt x="1677" y="1161"/>
                    <a:pt x="1648" y="1180"/>
                    <a:pt x="1648" y="1192"/>
                  </a:cubicBezTo>
                  <a:cubicBezTo>
                    <a:pt x="1648" y="1203"/>
                    <a:pt x="1670" y="1260"/>
                    <a:pt x="1696" y="1316"/>
                  </a:cubicBezTo>
                  <a:cubicBezTo>
                    <a:pt x="1738" y="1406"/>
                    <a:pt x="1742" y="1427"/>
                    <a:pt x="1728" y="1467"/>
                  </a:cubicBezTo>
                  <a:cubicBezTo>
                    <a:pt x="1717" y="1492"/>
                    <a:pt x="1714" y="1545"/>
                    <a:pt x="1718" y="1587"/>
                  </a:cubicBezTo>
                  <a:cubicBezTo>
                    <a:pt x="1730" y="1668"/>
                    <a:pt x="1733" y="1665"/>
                    <a:pt x="1630" y="1686"/>
                  </a:cubicBezTo>
                  <a:cubicBezTo>
                    <a:pt x="1597" y="1694"/>
                    <a:pt x="1584" y="1713"/>
                    <a:pt x="1552" y="1817"/>
                  </a:cubicBezTo>
                  <a:lnTo>
                    <a:pt x="1514" y="1939"/>
                  </a:lnTo>
                  <a:lnTo>
                    <a:pt x="1562" y="1977"/>
                  </a:lnTo>
                  <a:cubicBezTo>
                    <a:pt x="1626" y="2030"/>
                    <a:pt x="1651" y="2027"/>
                    <a:pt x="1710" y="1953"/>
                  </a:cubicBezTo>
                  <a:cubicBezTo>
                    <a:pt x="1754" y="1899"/>
                    <a:pt x="1771" y="1889"/>
                    <a:pt x="1822" y="1889"/>
                  </a:cubicBezTo>
                  <a:cubicBezTo>
                    <a:pt x="1870" y="1889"/>
                    <a:pt x="1890" y="1897"/>
                    <a:pt x="1909" y="1926"/>
                  </a:cubicBezTo>
                  <a:cubicBezTo>
                    <a:pt x="1933" y="1963"/>
                    <a:pt x="1930" y="1968"/>
                    <a:pt x="1798" y="2099"/>
                  </a:cubicBezTo>
                  <a:cubicBezTo>
                    <a:pt x="1682" y="2212"/>
                    <a:pt x="1664" y="2240"/>
                    <a:pt x="1670" y="2275"/>
                  </a:cubicBezTo>
                  <a:cubicBezTo>
                    <a:pt x="1688" y="2364"/>
                    <a:pt x="1606" y="2406"/>
                    <a:pt x="1488" y="2369"/>
                  </a:cubicBezTo>
                  <a:close/>
                </a:path>
              </a:pathLst>
            </a:custGeom>
            <a:solidFill>
              <a:srgbClr val="3072C2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56" name="Астраханская область">
              <a:extLst>
                <a:ext uri="{FF2B5EF4-FFF2-40B4-BE49-F238E27FC236}">
                  <a16:creationId xmlns="" xmlns:a16="http://schemas.microsoft.com/office/drawing/2014/main" id="{00000000-0008-0000-0300-00003F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8401" y="7161426"/>
              <a:ext cx="421388" cy="672708"/>
            </a:xfrm>
            <a:custGeom>
              <a:avLst/>
              <a:gdLst/>
              <a:ahLst/>
              <a:cxnLst>
                <a:cxn ang="0">
                  <a:pos x="291" y="1133"/>
                </a:cxn>
                <a:cxn ang="0">
                  <a:pos x="72" y="1120"/>
                </a:cxn>
                <a:cxn ang="0">
                  <a:pos x="19" y="1113"/>
                </a:cxn>
                <a:cxn ang="0">
                  <a:pos x="65" y="1030"/>
                </a:cxn>
                <a:cxn ang="0">
                  <a:pos x="137" y="961"/>
                </a:cxn>
                <a:cxn ang="0">
                  <a:pos x="105" y="899"/>
                </a:cxn>
                <a:cxn ang="0">
                  <a:pos x="206" y="806"/>
                </a:cxn>
                <a:cxn ang="0">
                  <a:pos x="305" y="776"/>
                </a:cxn>
                <a:cxn ang="0">
                  <a:pos x="297" y="686"/>
                </a:cxn>
                <a:cxn ang="0">
                  <a:pos x="339" y="526"/>
                </a:cxn>
                <a:cxn ang="0">
                  <a:pos x="395" y="433"/>
                </a:cxn>
                <a:cxn ang="0">
                  <a:pos x="313" y="422"/>
                </a:cxn>
                <a:cxn ang="0">
                  <a:pos x="230" y="422"/>
                </a:cxn>
                <a:cxn ang="0">
                  <a:pos x="241" y="294"/>
                </a:cxn>
                <a:cxn ang="0">
                  <a:pos x="232" y="96"/>
                </a:cxn>
                <a:cxn ang="0">
                  <a:pos x="224" y="11"/>
                </a:cxn>
                <a:cxn ang="0">
                  <a:pos x="360" y="1"/>
                </a:cxn>
                <a:cxn ang="0">
                  <a:pos x="510" y="38"/>
                </a:cxn>
                <a:cxn ang="0">
                  <a:pos x="515" y="144"/>
                </a:cxn>
                <a:cxn ang="0">
                  <a:pos x="505" y="270"/>
                </a:cxn>
                <a:cxn ang="0">
                  <a:pos x="489" y="387"/>
                </a:cxn>
                <a:cxn ang="0">
                  <a:pos x="561" y="581"/>
                </a:cxn>
                <a:cxn ang="0">
                  <a:pos x="641" y="661"/>
                </a:cxn>
                <a:cxn ang="0">
                  <a:pos x="659" y="830"/>
                </a:cxn>
                <a:cxn ang="0">
                  <a:pos x="670" y="976"/>
                </a:cxn>
                <a:cxn ang="0">
                  <a:pos x="603" y="1003"/>
                </a:cxn>
                <a:cxn ang="0">
                  <a:pos x="545" y="1093"/>
                </a:cxn>
                <a:cxn ang="0">
                  <a:pos x="291" y="1133"/>
                </a:cxn>
              </a:cxnLst>
              <a:rect l="0" t="0" r="r" b="b"/>
              <a:pathLst>
                <a:path w="670" h="1168">
                  <a:moveTo>
                    <a:pt x="291" y="1133"/>
                  </a:moveTo>
                  <a:cubicBezTo>
                    <a:pt x="185" y="1121"/>
                    <a:pt x="86" y="1115"/>
                    <a:pt x="72" y="1120"/>
                  </a:cubicBezTo>
                  <a:cubicBezTo>
                    <a:pt x="56" y="1125"/>
                    <a:pt x="33" y="1121"/>
                    <a:pt x="19" y="1113"/>
                  </a:cubicBezTo>
                  <a:cubicBezTo>
                    <a:pt x="0" y="1102"/>
                    <a:pt x="8" y="1088"/>
                    <a:pt x="65" y="1030"/>
                  </a:cubicBezTo>
                  <a:lnTo>
                    <a:pt x="137" y="961"/>
                  </a:lnTo>
                  <a:lnTo>
                    <a:pt x="105" y="899"/>
                  </a:lnTo>
                  <a:cubicBezTo>
                    <a:pt x="70" y="829"/>
                    <a:pt x="65" y="833"/>
                    <a:pt x="206" y="806"/>
                  </a:cubicBezTo>
                  <a:cubicBezTo>
                    <a:pt x="257" y="795"/>
                    <a:pt x="302" y="782"/>
                    <a:pt x="305" y="776"/>
                  </a:cubicBezTo>
                  <a:cubicBezTo>
                    <a:pt x="309" y="771"/>
                    <a:pt x="305" y="729"/>
                    <a:pt x="297" y="686"/>
                  </a:cubicBezTo>
                  <a:cubicBezTo>
                    <a:pt x="283" y="613"/>
                    <a:pt x="286" y="605"/>
                    <a:pt x="339" y="526"/>
                  </a:cubicBezTo>
                  <a:cubicBezTo>
                    <a:pt x="369" y="481"/>
                    <a:pt x="395" y="440"/>
                    <a:pt x="395" y="433"/>
                  </a:cubicBezTo>
                  <a:cubicBezTo>
                    <a:pt x="395" y="427"/>
                    <a:pt x="358" y="422"/>
                    <a:pt x="313" y="422"/>
                  </a:cubicBezTo>
                  <a:lnTo>
                    <a:pt x="230" y="422"/>
                  </a:lnTo>
                  <a:lnTo>
                    <a:pt x="241" y="294"/>
                  </a:lnTo>
                  <a:cubicBezTo>
                    <a:pt x="248" y="213"/>
                    <a:pt x="245" y="142"/>
                    <a:pt x="232" y="96"/>
                  </a:cubicBezTo>
                  <a:cubicBezTo>
                    <a:pt x="222" y="56"/>
                    <a:pt x="217" y="17"/>
                    <a:pt x="224" y="11"/>
                  </a:cubicBezTo>
                  <a:cubicBezTo>
                    <a:pt x="232" y="5"/>
                    <a:pt x="293" y="0"/>
                    <a:pt x="360" y="1"/>
                  </a:cubicBezTo>
                  <a:cubicBezTo>
                    <a:pt x="465" y="3"/>
                    <a:pt x="486" y="9"/>
                    <a:pt x="510" y="38"/>
                  </a:cubicBezTo>
                  <a:cubicBezTo>
                    <a:pt x="545" y="81"/>
                    <a:pt x="547" y="112"/>
                    <a:pt x="515" y="144"/>
                  </a:cubicBezTo>
                  <a:cubicBezTo>
                    <a:pt x="489" y="169"/>
                    <a:pt x="486" y="219"/>
                    <a:pt x="505" y="270"/>
                  </a:cubicBezTo>
                  <a:cubicBezTo>
                    <a:pt x="513" y="289"/>
                    <a:pt x="507" y="334"/>
                    <a:pt x="489" y="387"/>
                  </a:cubicBezTo>
                  <a:cubicBezTo>
                    <a:pt x="454" y="489"/>
                    <a:pt x="461" y="505"/>
                    <a:pt x="561" y="581"/>
                  </a:cubicBezTo>
                  <a:cubicBezTo>
                    <a:pt x="601" y="611"/>
                    <a:pt x="638" y="646"/>
                    <a:pt x="641" y="661"/>
                  </a:cubicBezTo>
                  <a:cubicBezTo>
                    <a:pt x="646" y="675"/>
                    <a:pt x="654" y="750"/>
                    <a:pt x="659" y="830"/>
                  </a:cubicBezTo>
                  <a:lnTo>
                    <a:pt x="670" y="976"/>
                  </a:lnTo>
                  <a:lnTo>
                    <a:pt x="603" y="1003"/>
                  </a:lnTo>
                  <a:cubicBezTo>
                    <a:pt x="536" y="1029"/>
                    <a:pt x="534" y="1029"/>
                    <a:pt x="545" y="1093"/>
                  </a:cubicBezTo>
                  <a:cubicBezTo>
                    <a:pt x="557" y="1168"/>
                    <a:pt x="581" y="1165"/>
                    <a:pt x="291" y="1133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57" name="Белгородская область">
              <a:extLst>
                <a:ext uri="{FF2B5EF4-FFF2-40B4-BE49-F238E27FC236}">
                  <a16:creationId xmlns="" xmlns:a16="http://schemas.microsoft.com/office/drawing/2014/main" id="{00000000-0008-0000-0300-000040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6386" y="5898947"/>
              <a:ext cx="361190" cy="460759"/>
            </a:xfrm>
            <a:custGeom>
              <a:avLst/>
              <a:gdLst>
                <a:gd name="T0" fmla="*/ 354 w 36"/>
                <a:gd name="T1" fmla="*/ 781 h 50"/>
                <a:gd name="T2" fmla="*/ 316 w 36"/>
                <a:gd name="T3" fmla="*/ 582 h 50"/>
                <a:gd name="T4" fmla="*/ 282 w 36"/>
                <a:gd name="T5" fmla="*/ 392 h 50"/>
                <a:gd name="T6" fmla="*/ 189 w 36"/>
                <a:gd name="T7" fmla="*/ 349 h 50"/>
                <a:gd name="T8" fmla="*/ 55 w 36"/>
                <a:gd name="T9" fmla="*/ 232 h 50"/>
                <a:gd name="T10" fmla="*/ 18 w 36"/>
                <a:gd name="T11" fmla="*/ 81 h 50"/>
                <a:gd name="T12" fmla="*/ 56 w 36"/>
                <a:gd name="T13" fmla="*/ 13 h 50"/>
                <a:gd name="T14" fmla="*/ 285 w 36"/>
                <a:gd name="T15" fmla="*/ 109 h 50"/>
                <a:gd name="T16" fmla="*/ 412 w 36"/>
                <a:gd name="T17" fmla="*/ 166 h 50"/>
                <a:gd name="T18" fmla="*/ 520 w 36"/>
                <a:gd name="T19" fmla="*/ 235 h 50"/>
                <a:gd name="T20" fmla="*/ 578 w 36"/>
                <a:gd name="T21" fmla="*/ 408 h 50"/>
                <a:gd name="T22" fmla="*/ 480 w 36"/>
                <a:gd name="T23" fmla="*/ 709 h 50"/>
                <a:gd name="T24" fmla="*/ 354 w 36"/>
                <a:gd name="T25" fmla="*/ 781 h 5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6"/>
                <a:gd name="T40" fmla="*/ 0 h 50"/>
                <a:gd name="T41" fmla="*/ 578 w 36"/>
                <a:gd name="T42" fmla="*/ 811 h 5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6" h="50">
                  <a:moveTo>
                    <a:pt x="22" y="48"/>
                  </a:moveTo>
                  <a:cubicBezTo>
                    <a:pt x="21" y="47"/>
                    <a:pt x="20" y="42"/>
                    <a:pt x="20" y="36"/>
                  </a:cubicBezTo>
                  <a:cubicBezTo>
                    <a:pt x="19" y="30"/>
                    <a:pt x="18" y="25"/>
                    <a:pt x="18" y="24"/>
                  </a:cubicBezTo>
                  <a:cubicBezTo>
                    <a:pt x="17" y="24"/>
                    <a:pt x="14" y="23"/>
                    <a:pt x="12" y="22"/>
                  </a:cubicBezTo>
                  <a:cubicBezTo>
                    <a:pt x="8" y="20"/>
                    <a:pt x="6" y="19"/>
                    <a:pt x="3" y="14"/>
                  </a:cubicBezTo>
                  <a:cubicBezTo>
                    <a:pt x="0" y="9"/>
                    <a:pt x="0" y="9"/>
                    <a:pt x="1" y="5"/>
                  </a:cubicBezTo>
                  <a:cubicBezTo>
                    <a:pt x="2" y="3"/>
                    <a:pt x="3" y="1"/>
                    <a:pt x="3" y="1"/>
                  </a:cubicBezTo>
                  <a:cubicBezTo>
                    <a:pt x="5" y="0"/>
                    <a:pt x="13" y="3"/>
                    <a:pt x="18" y="7"/>
                  </a:cubicBezTo>
                  <a:cubicBezTo>
                    <a:pt x="21" y="9"/>
                    <a:pt x="23" y="10"/>
                    <a:pt x="26" y="10"/>
                  </a:cubicBezTo>
                  <a:cubicBezTo>
                    <a:pt x="28" y="10"/>
                    <a:pt x="30" y="11"/>
                    <a:pt x="32" y="14"/>
                  </a:cubicBezTo>
                  <a:cubicBezTo>
                    <a:pt x="36" y="18"/>
                    <a:pt x="36" y="19"/>
                    <a:pt x="36" y="25"/>
                  </a:cubicBezTo>
                  <a:cubicBezTo>
                    <a:pt x="36" y="35"/>
                    <a:pt x="35" y="38"/>
                    <a:pt x="30" y="44"/>
                  </a:cubicBezTo>
                  <a:cubicBezTo>
                    <a:pt x="25" y="49"/>
                    <a:pt x="24" y="50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58" name="Брянская область">
              <a:extLst>
                <a:ext uri="{FF2B5EF4-FFF2-40B4-BE49-F238E27FC236}">
                  <a16:creationId xmlns="" xmlns:a16="http://schemas.microsoft.com/office/drawing/2014/main" id="{00000000-0008-0000-0300-000041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6089" y="5217024"/>
              <a:ext cx="491619" cy="377822"/>
            </a:xfrm>
            <a:custGeom>
              <a:avLst/>
              <a:gdLst/>
              <a:ahLst/>
              <a:cxnLst>
                <a:cxn ang="0">
                  <a:pos x="339" y="642"/>
                </a:cxn>
                <a:cxn ang="0">
                  <a:pos x="338" y="563"/>
                </a:cxn>
                <a:cxn ang="0">
                  <a:pos x="235" y="448"/>
                </a:cxn>
                <a:cxn ang="0">
                  <a:pos x="133" y="448"/>
                </a:cxn>
                <a:cxn ang="0">
                  <a:pos x="122" y="367"/>
                </a:cxn>
                <a:cxn ang="0">
                  <a:pos x="56" y="259"/>
                </a:cxn>
                <a:cxn ang="0">
                  <a:pos x="0" y="211"/>
                </a:cxn>
                <a:cxn ang="0">
                  <a:pos x="144" y="0"/>
                </a:cxn>
                <a:cxn ang="0">
                  <a:pos x="168" y="31"/>
                </a:cxn>
                <a:cxn ang="0">
                  <a:pos x="442" y="95"/>
                </a:cxn>
                <a:cxn ang="0">
                  <a:pos x="610" y="64"/>
                </a:cxn>
                <a:cxn ang="0">
                  <a:pos x="758" y="88"/>
                </a:cxn>
                <a:cxn ang="0">
                  <a:pos x="726" y="253"/>
                </a:cxn>
                <a:cxn ang="0">
                  <a:pos x="674" y="474"/>
                </a:cxn>
                <a:cxn ang="0">
                  <a:pos x="659" y="496"/>
                </a:cxn>
                <a:cxn ang="0">
                  <a:pos x="560" y="576"/>
                </a:cxn>
                <a:cxn ang="0">
                  <a:pos x="427" y="656"/>
                </a:cxn>
                <a:cxn ang="0">
                  <a:pos x="339" y="642"/>
                </a:cxn>
              </a:cxnLst>
              <a:rect l="0" t="0" r="r" b="b"/>
              <a:pathLst>
                <a:path w="776" h="656">
                  <a:moveTo>
                    <a:pt x="339" y="642"/>
                  </a:moveTo>
                  <a:cubicBezTo>
                    <a:pt x="322" y="631"/>
                    <a:pt x="322" y="616"/>
                    <a:pt x="338" y="563"/>
                  </a:cubicBezTo>
                  <a:cubicBezTo>
                    <a:pt x="366" y="463"/>
                    <a:pt x="354" y="448"/>
                    <a:pt x="235" y="448"/>
                  </a:cubicBezTo>
                  <a:lnTo>
                    <a:pt x="133" y="448"/>
                  </a:lnTo>
                  <a:lnTo>
                    <a:pt x="122" y="367"/>
                  </a:lnTo>
                  <a:cubicBezTo>
                    <a:pt x="112" y="295"/>
                    <a:pt x="106" y="283"/>
                    <a:pt x="56" y="259"/>
                  </a:cubicBezTo>
                  <a:cubicBezTo>
                    <a:pt x="26" y="245"/>
                    <a:pt x="0" y="224"/>
                    <a:pt x="0" y="211"/>
                  </a:cubicBezTo>
                  <a:cubicBezTo>
                    <a:pt x="0" y="184"/>
                    <a:pt x="125" y="0"/>
                    <a:pt x="144" y="0"/>
                  </a:cubicBezTo>
                  <a:cubicBezTo>
                    <a:pt x="152" y="0"/>
                    <a:pt x="163" y="15"/>
                    <a:pt x="168" y="31"/>
                  </a:cubicBezTo>
                  <a:cubicBezTo>
                    <a:pt x="184" y="80"/>
                    <a:pt x="398" y="130"/>
                    <a:pt x="442" y="95"/>
                  </a:cubicBezTo>
                  <a:cubicBezTo>
                    <a:pt x="456" y="82"/>
                    <a:pt x="528" y="69"/>
                    <a:pt x="610" y="64"/>
                  </a:cubicBezTo>
                  <a:cubicBezTo>
                    <a:pt x="741" y="56"/>
                    <a:pt x="750" y="58"/>
                    <a:pt x="758" y="88"/>
                  </a:cubicBezTo>
                  <a:cubicBezTo>
                    <a:pt x="776" y="152"/>
                    <a:pt x="766" y="199"/>
                    <a:pt x="726" y="253"/>
                  </a:cubicBezTo>
                  <a:cubicBezTo>
                    <a:pt x="675" y="317"/>
                    <a:pt x="646" y="442"/>
                    <a:pt x="674" y="474"/>
                  </a:cubicBezTo>
                  <a:cubicBezTo>
                    <a:pt x="688" y="491"/>
                    <a:pt x="685" y="496"/>
                    <a:pt x="659" y="496"/>
                  </a:cubicBezTo>
                  <a:cubicBezTo>
                    <a:pt x="640" y="496"/>
                    <a:pt x="600" y="528"/>
                    <a:pt x="560" y="576"/>
                  </a:cubicBezTo>
                  <a:cubicBezTo>
                    <a:pt x="499" y="648"/>
                    <a:pt x="486" y="656"/>
                    <a:pt x="427" y="656"/>
                  </a:cubicBezTo>
                  <a:cubicBezTo>
                    <a:pt x="390" y="655"/>
                    <a:pt x="350" y="650"/>
                    <a:pt x="339" y="642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59" name="Владимирская область">
              <a:extLst>
                <a:ext uri="{FF2B5EF4-FFF2-40B4-BE49-F238E27FC236}">
                  <a16:creationId xmlns="" xmlns:a16="http://schemas.microsoft.com/office/drawing/2014/main" id="{00000000-0008-0000-0300-000042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0219" y="5272315"/>
              <a:ext cx="431421" cy="460759"/>
            </a:xfrm>
            <a:custGeom>
              <a:avLst/>
              <a:gdLst/>
              <a:ahLst/>
              <a:cxnLst>
                <a:cxn ang="0">
                  <a:pos x="174" y="717"/>
                </a:cxn>
                <a:cxn ang="0">
                  <a:pos x="108" y="480"/>
                </a:cxn>
                <a:cxn ang="0">
                  <a:pos x="150" y="384"/>
                </a:cxn>
                <a:cxn ang="0">
                  <a:pos x="92" y="331"/>
                </a:cxn>
                <a:cxn ang="0">
                  <a:pos x="32" y="101"/>
                </a:cxn>
                <a:cxn ang="0">
                  <a:pos x="68" y="0"/>
                </a:cxn>
                <a:cxn ang="0">
                  <a:pos x="124" y="58"/>
                </a:cxn>
                <a:cxn ang="0">
                  <a:pos x="238" y="104"/>
                </a:cxn>
                <a:cxn ang="0">
                  <a:pos x="300" y="162"/>
                </a:cxn>
                <a:cxn ang="0">
                  <a:pos x="296" y="237"/>
                </a:cxn>
                <a:cxn ang="0">
                  <a:pos x="372" y="298"/>
                </a:cxn>
                <a:cxn ang="0">
                  <a:pos x="657" y="618"/>
                </a:cxn>
                <a:cxn ang="0">
                  <a:pos x="256" y="799"/>
                </a:cxn>
                <a:cxn ang="0">
                  <a:pos x="174" y="717"/>
                </a:cxn>
              </a:cxnLst>
              <a:rect l="0" t="0" r="r" b="b"/>
              <a:pathLst>
                <a:path w="684" h="800">
                  <a:moveTo>
                    <a:pt x="174" y="717"/>
                  </a:moveTo>
                  <a:cubicBezTo>
                    <a:pt x="56" y="568"/>
                    <a:pt x="60" y="587"/>
                    <a:pt x="108" y="480"/>
                  </a:cubicBezTo>
                  <a:lnTo>
                    <a:pt x="150" y="384"/>
                  </a:lnTo>
                  <a:lnTo>
                    <a:pt x="92" y="331"/>
                  </a:lnTo>
                  <a:cubicBezTo>
                    <a:pt x="9" y="256"/>
                    <a:pt x="0" y="219"/>
                    <a:pt x="32" y="101"/>
                  </a:cubicBezTo>
                  <a:cubicBezTo>
                    <a:pt x="46" y="45"/>
                    <a:pt x="64" y="0"/>
                    <a:pt x="68" y="0"/>
                  </a:cubicBezTo>
                  <a:cubicBezTo>
                    <a:pt x="73" y="0"/>
                    <a:pt x="99" y="26"/>
                    <a:pt x="124" y="58"/>
                  </a:cubicBezTo>
                  <a:cubicBezTo>
                    <a:pt x="168" y="112"/>
                    <a:pt x="174" y="114"/>
                    <a:pt x="238" y="104"/>
                  </a:cubicBezTo>
                  <a:cubicBezTo>
                    <a:pt x="320" y="93"/>
                    <a:pt x="344" y="114"/>
                    <a:pt x="300" y="162"/>
                  </a:cubicBezTo>
                  <a:cubicBezTo>
                    <a:pt x="273" y="191"/>
                    <a:pt x="273" y="197"/>
                    <a:pt x="296" y="237"/>
                  </a:cubicBezTo>
                  <a:cubicBezTo>
                    <a:pt x="308" y="261"/>
                    <a:pt x="344" y="288"/>
                    <a:pt x="372" y="298"/>
                  </a:cubicBezTo>
                  <a:cubicBezTo>
                    <a:pt x="444" y="320"/>
                    <a:pt x="684" y="591"/>
                    <a:pt x="657" y="618"/>
                  </a:cubicBezTo>
                  <a:cubicBezTo>
                    <a:pt x="641" y="634"/>
                    <a:pt x="273" y="800"/>
                    <a:pt x="256" y="799"/>
                  </a:cubicBezTo>
                  <a:cubicBezTo>
                    <a:pt x="246" y="799"/>
                    <a:pt x="209" y="762"/>
                    <a:pt x="174" y="717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60" name="Волгоградская область">
              <a:extLst>
                <a:ext uri="{FF2B5EF4-FFF2-40B4-BE49-F238E27FC236}">
                  <a16:creationId xmlns="" xmlns:a16="http://schemas.microsoft.com/office/drawing/2014/main" id="{00000000-0008-0000-0300-000043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7542" y="6442642"/>
              <a:ext cx="913007" cy="764859"/>
            </a:xfrm>
            <a:custGeom>
              <a:avLst/>
              <a:gdLst/>
              <a:ahLst/>
              <a:cxnLst>
                <a:cxn ang="0">
                  <a:pos x="983" y="1274"/>
                </a:cxn>
                <a:cxn ang="0">
                  <a:pos x="773" y="1195"/>
                </a:cxn>
                <a:cxn ang="0">
                  <a:pos x="546" y="1235"/>
                </a:cxn>
                <a:cxn ang="0">
                  <a:pos x="503" y="1163"/>
                </a:cxn>
                <a:cxn ang="0">
                  <a:pos x="411" y="1176"/>
                </a:cxn>
                <a:cxn ang="0">
                  <a:pos x="253" y="1232"/>
                </a:cxn>
                <a:cxn ang="0">
                  <a:pos x="45" y="1143"/>
                </a:cxn>
                <a:cxn ang="0">
                  <a:pos x="45" y="1016"/>
                </a:cxn>
                <a:cxn ang="0">
                  <a:pos x="37" y="896"/>
                </a:cxn>
                <a:cxn ang="0">
                  <a:pos x="170" y="808"/>
                </a:cxn>
                <a:cxn ang="0">
                  <a:pos x="282" y="730"/>
                </a:cxn>
                <a:cxn ang="0">
                  <a:pos x="323" y="653"/>
                </a:cxn>
                <a:cxn ang="0">
                  <a:pos x="290" y="592"/>
                </a:cxn>
                <a:cxn ang="0">
                  <a:pos x="255" y="531"/>
                </a:cxn>
                <a:cxn ang="0">
                  <a:pos x="320" y="477"/>
                </a:cxn>
                <a:cxn ang="0">
                  <a:pos x="387" y="421"/>
                </a:cxn>
                <a:cxn ang="0">
                  <a:pos x="367" y="327"/>
                </a:cxn>
                <a:cxn ang="0">
                  <a:pos x="339" y="200"/>
                </a:cxn>
                <a:cxn ang="0">
                  <a:pos x="391" y="136"/>
                </a:cxn>
                <a:cxn ang="0">
                  <a:pos x="483" y="27"/>
                </a:cxn>
                <a:cxn ang="0">
                  <a:pos x="587" y="0"/>
                </a:cxn>
                <a:cxn ang="0">
                  <a:pos x="695" y="18"/>
                </a:cxn>
                <a:cxn ang="0">
                  <a:pos x="754" y="64"/>
                </a:cxn>
                <a:cxn ang="0">
                  <a:pos x="843" y="170"/>
                </a:cxn>
                <a:cxn ang="0">
                  <a:pos x="1002" y="280"/>
                </a:cxn>
                <a:cxn ang="0">
                  <a:pos x="1135" y="336"/>
                </a:cxn>
                <a:cxn ang="0">
                  <a:pos x="1135" y="538"/>
                </a:cxn>
                <a:cxn ang="0">
                  <a:pos x="1207" y="647"/>
                </a:cxn>
                <a:cxn ang="0">
                  <a:pos x="1296" y="714"/>
                </a:cxn>
                <a:cxn ang="0">
                  <a:pos x="1378" y="792"/>
                </a:cxn>
                <a:cxn ang="0">
                  <a:pos x="1447" y="872"/>
                </a:cxn>
                <a:cxn ang="0">
                  <a:pos x="1459" y="946"/>
                </a:cxn>
                <a:cxn ang="0">
                  <a:pos x="1319" y="1031"/>
                </a:cxn>
                <a:cxn ang="0">
                  <a:pos x="1146" y="1197"/>
                </a:cxn>
                <a:cxn ang="0">
                  <a:pos x="1074" y="1288"/>
                </a:cxn>
                <a:cxn ang="0">
                  <a:pos x="1007" y="1328"/>
                </a:cxn>
                <a:cxn ang="0">
                  <a:pos x="983" y="1274"/>
                </a:cxn>
              </a:cxnLst>
              <a:rect l="0" t="0" r="r" b="b"/>
              <a:pathLst>
                <a:path w="1464" h="1328">
                  <a:moveTo>
                    <a:pt x="983" y="1274"/>
                  </a:moveTo>
                  <a:cubicBezTo>
                    <a:pt x="959" y="1218"/>
                    <a:pt x="930" y="1207"/>
                    <a:pt x="773" y="1195"/>
                  </a:cubicBezTo>
                  <a:cubicBezTo>
                    <a:pt x="720" y="1191"/>
                    <a:pt x="567" y="1218"/>
                    <a:pt x="546" y="1235"/>
                  </a:cubicBezTo>
                  <a:cubicBezTo>
                    <a:pt x="525" y="1253"/>
                    <a:pt x="520" y="1245"/>
                    <a:pt x="503" y="1163"/>
                  </a:cubicBezTo>
                  <a:cubicBezTo>
                    <a:pt x="490" y="1106"/>
                    <a:pt x="471" y="1109"/>
                    <a:pt x="411" y="1176"/>
                  </a:cubicBezTo>
                  <a:cubicBezTo>
                    <a:pt x="363" y="1229"/>
                    <a:pt x="357" y="1232"/>
                    <a:pt x="253" y="1232"/>
                  </a:cubicBezTo>
                  <a:cubicBezTo>
                    <a:pt x="107" y="1232"/>
                    <a:pt x="69" y="1215"/>
                    <a:pt x="45" y="1143"/>
                  </a:cubicBezTo>
                  <a:cubicBezTo>
                    <a:pt x="31" y="1098"/>
                    <a:pt x="31" y="1069"/>
                    <a:pt x="45" y="1016"/>
                  </a:cubicBezTo>
                  <a:cubicBezTo>
                    <a:pt x="61" y="959"/>
                    <a:pt x="59" y="939"/>
                    <a:pt x="37" y="896"/>
                  </a:cubicBezTo>
                  <a:cubicBezTo>
                    <a:pt x="0" y="824"/>
                    <a:pt x="19" y="811"/>
                    <a:pt x="170" y="808"/>
                  </a:cubicBezTo>
                  <a:cubicBezTo>
                    <a:pt x="235" y="808"/>
                    <a:pt x="240" y="803"/>
                    <a:pt x="282" y="730"/>
                  </a:cubicBezTo>
                  <a:lnTo>
                    <a:pt x="323" y="653"/>
                  </a:lnTo>
                  <a:lnTo>
                    <a:pt x="290" y="592"/>
                  </a:lnTo>
                  <a:lnTo>
                    <a:pt x="255" y="531"/>
                  </a:lnTo>
                  <a:lnTo>
                    <a:pt x="320" y="477"/>
                  </a:lnTo>
                  <a:lnTo>
                    <a:pt x="387" y="421"/>
                  </a:lnTo>
                  <a:lnTo>
                    <a:pt x="367" y="327"/>
                  </a:lnTo>
                  <a:cubicBezTo>
                    <a:pt x="355" y="274"/>
                    <a:pt x="343" y="218"/>
                    <a:pt x="339" y="200"/>
                  </a:cubicBezTo>
                  <a:cubicBezTo>
                    <a:pt x="333" y="176"/>
                    <a:pt x="346" y="160"/>
                    <a:pt x="391" y="136"/>
                  </a:cubicBezTo>
                  <a:cubicBezTo>
                    <a:pt x="448" y="104"/>
                    <a:pt x="466" y="85"/>
                    <a:pt x="483" y="27"/>
                  </a:cubicBezTo>
                  <a:cubicBezTo>
                    <a:pt x="490" y="5"/>
                    <a:pt x="511" y="0"/>
                    <a:pt x="587" y="0"/>
                  </a:cubicBezTo>
                  <a:cubicBezTo>
                    <a:pt x="640" y="0"/>
                    <a:pt x="688" y="8"/>
                    <a:pt x="695" y="18"/>
                  </a:cubicBezTo>
                  <a:cubicBezTo>
                    <a:pt x="699" y="26"/>
                    <a:pt x="727" y="48"/>
                    <a:pt x="754" y="64"/>
                  </a:cubicBezTo>
                  <a:cubicBezTo>
                    <a:pt x="779" y="80"/>
                    <a:pt x="821" y="128"/>
                    <a:pt x="843" y="170"/>
                  </a:cubicBezTo>
                  <a:cubicBezTo>
                    <a:pt x="883" y="243"/>
                    <a:pt x="890" y="248"/>
                    <a:pt x="1002" y="280"/>
                  </a:cubicBezTo>
                  <a:cubicBezTo>
                    <a:pt x="1066" y="298"/>
                    <a:pt x="1125" y="323"/>
                    <a:pt x="1135" y="336"/>
                  </a:cubicBezTo>
                  <a:cubicBezTo>
                    <a:pt x="1152" y="367"/>
                    <a:pt x="1154" y="474"/>
                    <a:pt x="1135" y="538"/>
                  </a:cubicBezTo>
                  <a:cubicBezTo>
                    <a:pt x="1115" y="603"/>
                    <a:pt x="1136" y="634"/>
                    <a:pt x="1207" y="647"/>
                  </a:cubicBezTo>
                  <a:cubicBezTo>
                    <a:pt x="1248" y="655"/>
                    <a:pt x="1272" y="672"/>
                    <a:pt x="1296" y="714"/>
                  </a:cubicBezTo>
                  <a:cubicBezTo>
                    <a:pt x="1315" y="746"/>
                    <a:pt x="1352" y="781"/>
                    <a:pt x="1378" y="792"/>
                  </a:cubicBezTo>
                  <a:cubicBezTo>
                    <a:pt x="1411" y="805"/>
                    <a:pt x="1432" y="831"/>
                    <a:pt x="1447" y="872"/>
                  </a:cubicBezTo>
                  <a:cubicBezTo>
                    <a:pt x="1458" y="906"/>
                    <a:pt x="1464" y="939"/>
                    <a:pt x="1459" y="946"/>
                  </a:cubicBezTo>
                  <a:cubicBezTo>
                    <a:pt x="1456" y="952"/>
                    <a:pt x="1392" y="991"/>
                    <a:pt x="1319" y="1031"/>
                  </a:cubicBezTo>
                  <a:cubicBezTo>
                    <a:pt x="1165" y="1114"/>
                    <a:pt x="1154" y="1125"/>
                    <a:pt x="1146" y="1197"/>
                  </a:cubicBezTo>
                  <a:cubicBezTo>
                    <a:pt x="1143" y="1239"/>
                    <a:pt x="1128" y="1256"/>
                    <a:pt x="1074" y="1288"/>
                  </a:cubicBezTo>
                  <a:lnTo>
                    <a:pt x="1007" y="1328"/>
                  </a:lnTo>
                  <a:lnTo>
                    <a:pt x="983" y="1274"/>
                  </a:lnTo>
                  <a:close/>
                </a:path>
              </a:pathLst>
            </a:custGeom>
            <a:solidFill>
              <a:srgbClr val="5B93D7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61" name="Вологодская область">
              <a:extLst>
                <a:ext uri="{FF2B5EF4-FFF2-40B4-BE49-F238E27FC236}">
                  <a16:creationId xmlns="" xmlns:a16="http://schemas.microsoft.com/office/drawing/2014/main" id="{00000000-0008-0000-0300-000044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0648" y="4378443"/>
              <a:ext cx="1314329" cy="967594"/>
            </a:xfrm>
            <a:custGeom>
              <a:avLst/>
              <a:gdLst/>
              <a:ahLst/>
              <a:cxnLst>
                <a:cxn ang="0">
                  <a:pos x="1562" y="1650"/>
                </a:cxn>
                <a:cxn ang="0">
                  <a:pos x="1373" y="1496"/>
                </a:cxn>
                <a:cxn ang="0">
                  <a:pos x="1197" y="1330"/>
                </a:cxn>
                <a:cxn ang="0">
                  <a:pos x="952" y="1295"/>
                </a:cxn>
                <a:cxn ang="0">
                  <a:pos x="747" y="1336"/>
                </a:cxn>
                <a:cxn ang="0">
                  <a:pos x="685" y="1362"/>
                </a:cxn>
                <a:cxn ang="0">
                  <a:pos x="656" y="1199"/>
                </a:cxn>
                <a:cxn ang="0">
                  <a:pos x="598" y="1005"/>
                </a:cxn>
                <a:cxn ang="0">
                  <a:pos x="486" y="987"/>
                </a:cxn>
                <a:cxn ang="0">
                  <a:pos x="405" y="946"/>
                </a:cxn>
                <a:cxn ang="0">
                  <a:pos x="317" y="871"/>
                </a:cxn>
                <a:cxn ang="0">
                  <a:pos x="280" y="803"/>
                </a:cxn>
                <a:cxn ang="0">
                  <a:pos x="173" y="712"/>
                </a:cxn>
                <a:cxn ang="0">
                  <a:pos x="104" y="659"/>
                </a:cxn>
                <a:cxn ang="0">
                  <a:pos x="53" y="565"/>
                </a:cxn>
                <a:cxn ang="0">
                  <a:pos x="32" y="488"/>
                </a:cxn>
                <a:cxn ang="0">
                  <a:pos x="160" y="397"/>
                </a:cxn>
                <a:cxn ang="0">
                  <a:pos x="312" y="247"/>
                </a:cxn>
                <a:cxn ang="0">
                  <a:pos x="413" y="114"/>
                </a:cxn>
                <a:cxn ang="0">
                  <a:pos x="554" y="10"/>
                </a:cxn>
                <a:cxn ang="0">
                  <a:pos x="744" y="7"/>
                </a:cxn>
                <a:cxn ang="0">
                  <a:pos x="947" y="77"/>
                </a:cxn>
                <a:cxn ang="0">
                  <a:pos x="1000" y="135"/>
                </a:cxn>
                <a:cxn ang="0">
                  <a:pos x="952" y="264"/>
                </a:cxn>
                <a:cxn ang="0">
                  <a:pos x="904" y="413"/>
                </a:cxn>
                <a:cxn ang="0">
                  <a:pos x="1173" y="696"/>
                </a:cxn>
                <a:cxn ang="0">
                  <a:pos x="1208" y="735"/>
                </a:cxn>
                <a:cxn ang="0">
                  <a:pos x="1347" y="837"/>
                </a:cxn>
                <a:cxn ang="0">
                  <a:pos x="1523" y="963"/>
                </a:cxn>
                <a:cxn ang="0">
                  <a:pos x="1574" y="1027"/>
                </a:cxn>
                <a:cxn ang="0">
                  <a:pos x="1656" y="1011"/>
                </a:cxn>
                <a:cxn ang="0">
                  <a:pos x="1768" y="1075"/>
                </a:cxn>
                <a:cxn ang="0">
                  <a:pos x="1910" y="1122"/>
                </a:cxn>
                <a:cxn ang="0">
                  <a:pos x="1992" y="1162"/>
                </a:cxn>
                <a:cxn ang="0">
                  <a:pos x="2051" y="1235"/>
                </a:cxn>
                <a:cxn ang="0">
                  <a:pos x="2078" y="1359"/>
                </a:cxn>
                <a:cxn ang="0">
                  <a:pos x="1974" y="1426"/>
                </a:cxn>
                <a:cxn ang="0">
                  <a:pos x="1907" y="1536"/>
                </a:cxn>
                <a:cxn ang="0">
                  <a:pos x="1918" y="1602"/>
                </a:cxn>
                <a:cxn ang="0">
                  <a:pos x="1835" y="1643"/>
                </a:cxn>
                <a:cxn ang="0">
                  <a:pos x="1733" y="1663"/>
                </a:cxn>
                <a:cxn ang="0">
                  <a:pos x="1562" y="1650"/>
                </a:cxn>
              </a:cxnLst>
              <a:rect l="0" t="0" r="r" b="b"/>
              <a:pathLst>
                <a:path w="2098" h="1693">
                  <a:moveTo>
                    <a:pt x="1562" y="1650"/>
                  </a:moveTo>
                  <a:cubicBezTo>
                    <a:pt x="1462" y="1618"/>
                    <a:pt x="1453" y="1610"/>
                    <a:pt x="1373" y="1496"/>
                  </a:cubicBezTo>
                  <a:cubicBezTo>
                    <a:pt x="1304" y="1399"/>
                    <a:pt x="1272" y="1368"/>
                    <a:pt x="1197" y="1330"/>
                  </a:cubicBezTo>
                  <a:cubicBezTo>
                    <a:pt x="1109" y="1285"/>
                    <a:pt x="1099" y="1283"/>
                    <a:pt x="952" y="1295"/>
                  </a:cubicBezTo>
                  <a:cubicBezTo>
                    <a:pt x="845" y="1303"/>
                    <a:pt x="786" y="1314"/>
                    <a:pt x="747" y="1336"/>
                  </a:cubicBezTo>
                  <a:cubicBezTo>
                    <a:pt x="717" y="1354"/>
                    <a:pt x="688" y="1365"/>
                    <a:pt x="685" y="1362"/>
                  </a:cubicBezTo>
                  <a:cubicBezTo>
                    <a:pt x="680" y="1357"/>
                    <a:pt x="667" y="1285"/>
                    <a:pt x="656" y="1199"/>
                  </a:cubicBezTo>
                  <a:cubicBezTo>
                    <a:pt x="638" y="1080"/>
                    <a:pt x="626" y="1035"/>
                    <a:pt x="598" y="1005"/>
                  </a:cubicBezTo>
                  <a:cubicBezTo>
                    <a:pt x="558" y="963"/>
                    <a:pt x="534" y="959"/>
                    <a:pt x="486" y="987"/>
                  </a:cubicBezTo>
                  <a:cubicBezTo>
                    <a:pt x="458" y="1005"/>
                    <a:pt x="448" y="1002"/>
                    <a:pt x="405" y="946"/>
                  </a:cubicBezTo>
                  <a:cubicBezTo>
                    <a:pt x="378" y="912"/>
                    <a:pt x="338" y="879"/>
                    <a:pt x="317" y="871"/>
                  </a:cubicBezTo>
                  <a:cubicBezTo>
                    <a:pt x="288" y="859"/>
                    <a:pt x="280" y="845"/>
                    <a:pt x="280" y="803"/>
                  </a:cubicBezTo>
                  <a:cubicBezTo>
                    <a:pt x="280" y="733"/>
                    <a:pt x="256" y="712"/>
                    <a:pt x="173" y="712"/>
                  </a:cubicBezTo>
                  <a:cubicBezTo>
                    <a:pt x="106" y="712"/>
                    <a:pt x="104" y="711"/>
                    <a:pt x="104" y="659"/>
                  </a:cubicBezTo>
                  <a:cubicBezTo>
                    <a:pt x="104" y="621"/>
                    <a:pt x="91" y="597"/>
                    <a:pt x="53" y="565"/>
                  </a:cubicBezTo>
                  <a:cubicBezTo>
                    <a:pt x="2" y="523"/>
                    <a:pt x="0" y="522"/>
                    <a:pt x="32" y="488"/>
                  </a:cubicBezTo>
                  <a:cubicBezTo>
                    <a:pt x="48" y="469"/>
                    <a:pt x="106" y="427"/>
                    <a:pt x="160" y="397"/>
                  </a:cubicBezTo>
                  <a:cubicBezTo>
                    <a:pt x="293" y="317"/>
                    <a:pt x="312" y="298"/>
                    <a:pt x="312" y="247"/>
                  </a:cubicBezTo>
                  <a:cubicBezTo>
                    <a:pt x="312" y="213"/>
                    <a:pt x="334" y="183"/>
                    <a:pt x="413" y="114"/>
                  </a:cubicBezTo>
                  <a:cubicBezTo>
                    <a:pt x="469" y="66"/>
                    <a:pt x="533" y="18"/>
                    <a:pt x="554" y="10"/>
                  </a:cubicBezTo>
                  <a:cubicBezTo>
                    <a:pt x="579" y="0"/>
                    <a:pt x="654" y="0"/>
                    <a:pt x="744" y="7"/>
                  </a:cubicBezTo>
                  <a:cubicBezTo>
                    <a:pt x="890" y="19"/>
                    <a:pt x="896" y="21"/>
                    <a:pt x="947" y="77"/>
                  </a:cubicBezTo>
                  <a:lnTo>
                    <a:pt x="1000" y="135"/>
                  </a:lnTo>
                  <a:lnTo>
                    <a:pt x="952" y="264"/>
                  </a:lnTo>
                  <a:cubicBezTo>
                    <a:pt x="926" y="336"/>
                    <a:pt x="904" y="403"/>
                    <a:pt x="904" y="413"/>
                  </a:cubicBezTo>
                  <a:cubicBezTo>
                    <a:pt x="904" y="440"/>
                    <a:pt x="1147" y="696"/>
                    <a:pt x="1173" y="696"/>
                  </a:cubicBezTo>
                  <a:cubicBezTo>
                    <a:pt x="1184" y="696"/>
                    <a:pt x="1200" y="714"/>
                    <a:pt x="1208" y="735"/>
                  </a:cubicBezTo>
                  <a:cubicBezTo>
                    <a:pt x="1218" y="762"/>
                    <a:pt x="1262" y="794"/>
                    <a:pt x="1347" y="837"/>
                  </a:cubicBezTo>
                  <a:cubicBezTo>
                    <a:pt x="1429" y="879"/>
                    <a:pt x="1490" y="922"/>
                    <a:pt x="1523" y="963"/>
                  </a:cubicBezTo>
                  <a:lnTo>
                    <a:pt x="1574" y="1027"/>
                  </a:lnTo>
                  <a:lnTo>
                    <a:pt x="1656" y="1011"/>
                  </a:lnTo>
                  <a:cubicBezTo>
                    <a:pt x="1747" y="994"/>
                    <a:pt x="1768" y="1005"/>
                    <a:pt x="1768" y="1075"/>
                  </a:cubicBezTo>
                  <a:cubicBezTo>
                    <a:pt x="1768" y="1119"/>
                    <a:pt x="1822" y="1136"/>
                    <a:pt x="1910" y="1122"/>
                  </a:cubicBezTo>
                  <a:cubicBezTo>
                    <a:pt x="1968" y="1112"/>
                    <a:pt x="1974" y="1115"/>
                    <a:pt x="1992" y="1162"/>
                  </a:cubicBezTo>
                  <a:cubicBezTo>
                    <a:pt x="2003" y="1187"/>
                    <a:pt x="2030" y="1221"/>
                    <a:pt x="2051" y="1235"/>
                  </a:cubicBezTo>
                  <a:cubicBezTo>
                    <a:pt x="2088" y="1259"/>
                    <a:pt x="2098" y="1307"/>
                    <a:pt x="2078" y="1359"/>
                  </a:cubicBezTo>
                  <a:cubicBezTo>
                    <a:pt x="2074" y="1371"/>
                    <a:pt x="2026" y="1402"/>
                    <a:pt x="1974" y="1426"/>
                  </a:cubicBezTo>
                  <a:cubicBezTo>
                    <a:pt x="1877" y="1469"/>
                    <a:pt x="1859" y="1501"/>
                    <a:pt x="1907" y="1536"/>
                  </a:cubicBezTo>
                  <a:cubicBezTo>
                    <a:pt x="1930" y="1552"/>
                    <a:pt x="1933" y="1565"/>
                    <a:pt x="1918" y="1602"/>
                  </a:cubicBezTo>
                  <a:cubicBezTo>
                    <a:pt x="1904" y="1643"/>
                    <a:pt x="1898" y="1647"/>
                    <a:pt x="1835" y="1643"/>
                  </a:cubicBezTo>
                  <a:cubicBezTo>
                    <a:pt x="1794" y="1640"/>
                    <a:pt x="1755" y="1647"/>
                    <a:pt x="1733" y="1663"/>
                  </a:cubicBezTo>
                  <a:cubicBezTo>
                    <a:pt x="1690" y="1693"/>
                    <a:pt x="1690" y="1693"/>
                    <a:pt x="1562" y="1650"/>
                  </a:cubicBezTo>
                  <a:close/>
                </a:path>
              </a:pathLst>
            </a:custGeom>
            <a:solidFill>
              <a:srgbClr val="5B93D7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62" name="Воронежская область">
              <a:extLst>
                <a:ext uri="{FF2B5EF4-FFF2-40B4-BE49-F238E27FC236}">
                  <a16:creationId xmlns="" xmlns:a16="http://schemas.microsoft.com/office/drawing/2014/main" id="{00000000-0008-0000-0300-000045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7245" y="5991099"/>
              <a:ext cx="612016" cy="552910"/>
            </a:xfrm>
            <a:custGeom>
              <a:avLst/>
              <a:gdLst/>
              <a:ahLst/>
              <a:cxnLst>
                <a:cxn ang="0">
                  <a:pos x="190" y="891"/>
                </a:cxn>
                <a:cxn ang="0">
                  <a:pos x="102" y="843"/>
                </a:cxn>
                <a:cxn ang="0">
                  <a:pos x="1" y="698"/>
                </a:cxn>
                <a:cxn ang="0">
                  <a:pos x="92" y="582"/>
                </a:cxn>
                <a:cxn ang="0">
                  <a:pos x="222" y="221"/>
                </a:cxn>
                <a:cxn ang="0">
                  <a:pos x="222" y="128"/>
                </a:cxn>
                <a:cxn ang="0">
                  <a:pos x="312" y="67"/>
                </a:cxn>
                <a:cxn ang="0">
                  <a:pos x="494" y="67"/>
                </a:cxn>
                <a:cxn ang="0">
                  <a:pos x="526" y="107"/>
                </a:cxn>
                <a:cxn ang="0">
                  <a:pos x="574" y="178"/>
                </a:cxn>
                <a:cxn ang="0">
                  <a:pos x="659" y="272"/>
                </a:cxn>
                <a:cxn ang="0">
                  <a:pos x="766" y="394"/>
                </a:cxn>
                <a:cxn ang="0">
                  <a:pos x="878" y="539"/>
                </a:cxn>
                <a:cxn ang="0">
                  <a:pos x="990" y="726"/>
                </a:cxn>
                <a:cxn ang="0">
                  <a:pos x="881" y="752"/>
                </a:cxn>
                <a:cxn ang="0">
                  <a:pos x="707" y="720"/>
                </a:cxn>
                <a:cxn ang="0">
                  <a:pos x="579" y="736"/>
                </a:cxn>
                <a:cxn ang="0">
                  <a:pos x="560" y="798"/>
                </a:cxn>
                <a:cxn ang="0">
                  <a:pos x="456" y="888"/>
                </a:cxn>
                <a:cxn ang="0">
                  <a:pos x="190" y="891"/>
                </a:cxn>
              </a:cxnLst>
              <a:rect l="0" t="0" r="r" b="b"/>
              <a:pathLst>
                <a:path w="990" h="946">
                  <a:moveTo>
                    <a:pt x="190" y="891"/>
                  </a:moveTo>
                  <a:cubicBezTo>
                    <a:pt x="150" y="866"/>
                    <a:pt x="112" y="845"/>
                    <a:pt x="102" y="843"/>
                  </a:cubicBezTo>
                  <a:cubicBezTo>
                    <a:pt x="89" y="843"/>
                    <a:pt x="27" y="752"/>
                    <a:pt x="1" y="698"/>
                  </a:cubicBezTo>
                  <a:cubicBezTo>
                    <a:pt x="0" y="691"/>
                    <a:pt x="40" y="640"/>
                    <a:pt x="92" y="582"/>
                  </a:cubicBezTo>
                  <a:cubicBezTo>
                    <a:pt x="196" y="467"/>
                    <a:pt x="222" y="395"/>
                    <a:pt x="222" y="221"/>
                  </a:cubicBezTo>
                  <a:lnTo>
                    <a:pt x="222" y="128"/>
                  </a:lnTo>
                  <a:lnTo>
                    <a:pt x="312" y="67"/>
                  </a:lnTo>
                  <a:cubicBezTo>
                    <a:pt x="412" y="0"/>
                    <a:pt x="468" y="0"/>
                    <a:pt x="494" y="67"/>
                  </a:cubicBezTo>
                  <a:cubicBezTo>
                    <a:pt x="502" y="90"/>
                    <a:pt x="516" y="107"/>
                    <a:pt x="526" y="107"/>
                  </a:cubicBezTo>
                  <a:cubicBezTo>
                    <a:pt x="536" y="107"/>
                    <a:pt x="556" y="139"/>
                    <a:pt x="574" y="178"/>
                  </a:cubicBezTo>
                  <a:cubicBezTo>
                    <a:pt x="596" y="230"/>
                    <a:pt x="619" y="256"/>
                    <a:pt x="659" y="272"/>
                  </a:cubicBezTo>
                  <a:cubicBezTo>
                    <a:pt x="716" y="296"/>
                    <a:pt x="766" y="352"/>
                    <a:pt x="766" y="394"/>
                  </a:cubicBezTo>
                  <a:cubicBezTo>
                    <a:pt x="766" y="408"/>
                    <a:pt x="817" y="472"/>
                    <a:pt x="878" y="539"/>
                  </a:cubicBezTo>
                  <a:cubicBezTo>
                    <a:pt x="979" y="648"/>
                    <a:pt x="990" y="666"/>
                    <a:pt x="990" y="726"/>
                  </a:cubicBezTo>
                  <a:cubicBezTo>
                    <a:pt x="990" y="810"/>
                    <a:pt x="964" y="816"/>
                    <a:pt x="881" y="752"/>
                  </a:cubicBezTo>
                  <a:cubicBezTo>
                    <a:pt x="830" y="714"/>
                    <a:pt x="819" y="710"/>
                    <a:pt x="707" y="720"/>
                  </a:cubicBezTo>
                  <a:cubicBezTo>
                    <a:pt x="641" y="725"/>
                    <a:pt x="584" y="733"/>
                    <a:pt x="579" y="736"/>
                  </a:cubicBezTo>
                  <a:cubicBezTo>
                    <a:pt x="574" y="741"/>
                    <a:pt x="566" y="770"/>
                    <a:pt x="560" y="798"/>
                  </a:cubicBezTo>
                  <a:cubicBezTo>
                    <a:pt x="550" y="845"/>
                    <a:pt x="537" y="856"/>
                    <a:pt x="456" y="888"/>
                  </a:cubicBezTo>
                  <a:cubicBezTo>
                    <a:pt x="313" y="944"/>
                    <a:pt x="273" y="946"/>
                    <a:pt x="190" y="891"/>
                  </a:cubicBezTo>
                  <a:close/>
                </a:path>
              </a:pathLst>
            </a:custGeom>
            <a:solidFill>
              <a:srgbClr val="3072C2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63" name="Еврейская автономная область">
              <a:extLst>
                <a:ext uri="{FF2B5EF4-FFF2-40B4-BE49-F238E27FC236}">
                  <a16:creationId xmlns="" xmlns:a16="http://schemas.microsoft.com/office/drawing/2014/main" id="{00000000-0008-0000-0300-000046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29242" y="7179856"/>
              <a:ext cx="521718" cy="396253"/>
            </a:xfrm>
            <a:custGeom>
              <a:avLst/>
              <a:gdLst>
                <a:gd name="T0" fmla="*/ 266 w 52"/>
                <a:gd name="T1" fmla="*/ 676 h 43"/>
                <a:gd name="T2" fmla="*/ 154 w 52"/>
                <a:gd name="T3" fmla="*/ 563 h 43"/>
                <a:gd name="T4" fmla="*/ 34 w 52"/>
                <a:gd name="T5" fmla="*/ 299 h 43"/>
                <a:gd name="T6" fmla="*/ 61 w 52"/>
                <a:gd name="T7" fmla="*/ 203 h 43"/>
                <a:gd name="T8" fmla="*/ 410 w 52"/>
                <a:gd name="T9" fmla="*/ 17 h 43"/>
                <a:gd name="T10" fmla="*/ 483 w 52"/>
                <a:gd name="T11" fmla="*/ 44 h 43"/>
                <a:gd name="T12" fmla="*/ 685 w 52"/>
                <a:gd name="T13" fmla="*/ 35 h 43"/>
                <a:gd name="T14" fmla="*/ 837 w 52"/>
                <a:gd name="T15" fmla="*/ 4 h 43"/>
                <a:gd name="T16" fmla="*/ 747 w 52"/>
                <a:gd name="T17" fmla="*/ 160 h 43"/>
                <a:gd name="T18" fmla="*/ 605 w 52"/>
                <a:gd name="T19" fmla="*/ 396 h 43"/>
                <a:gd name="T20" fmla="*/ 331 w 52"/>
                <a:gd name="T21" fmla="*/ 680 h 43"/>
                <a:gd name="T22" fmla="*/ 266 w 52"/>
                <a:gd name="T23" fmla="*/ 676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2"/>
                <a:gd name="T37" fmla="*/ 0 h 43"/>
                <a:gd name="T38" fmla="*/ 840 w 52"/>
                <a:gd name="T39" fmla="*/ 683 h 4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2" h="43">
                  <a:moveTo>
                    <a:pt x="16" y="43"/>
                  </a:moveTo>
                  <a:cubicBezTo>
                    <a:pt x="16" y="42"/>
                    <a:pt x="13" y="39"/>
                    <a:pt x="10" y="35"/>
                  </a:cubicBezTo>
                  <a:cubicBezTo>
                    <a:pt x="0" y="24"/>
                    <a:pt x="1" y="25"/>
                    <a:pt x="2" y="19"/>
                  </a:cubicBezTo>
                  <a:cubicBezTo>
                    <a:pt x="3" y="16"/>
                    <a:pt x="4" y="13"/>
                    <a:pt x="4" y="13"/>
                  </a:cubicBezTo>
                  <a:cubicBezTo>
                    <a:pt x="5" y="11"/>
                    <a:pt x="24" y="1"/>
                    <a:pt x="25" y="1"/>
                  </a:cubicBezTo>
                  <a:cubicBezTo>
                    <a:pt x="26" y="1"/>
                    <a:pt x="28" y="2"/>
                    <a:pt x="30" y="3"/>
                  </a:cubicBezTo>
                  <a:cubicBezTo>
                    <a:pt x="33" y="4"/>
                    <a:pt x="34" y="4"/>
                    <a:pt x="42" y="2"/>
                  </a:cubicBezTo>
                  <a:cubicBezTo>
                    <a:pt x="47" y="1"/>
                    <a:pt x="52" y="0"/>
                    <a:pt x="52" y="0"/>
                  </a:cubicBezTo>
                  <a:cubicBezTo>
                    <a:pt x="52" y="1"/>
                    <a:pt x="50" y="5"/>
                    <a:pt x="46" y="10"/>
                  </a:cubicBezTo>
                  <a:cubicBezTo>
                    <a:pt x="43" y="15"/>
                    <a:pt x="39" y="22"/>
                    <a:pt x="37" y="25"/>
                  </a:cubicBezTo>
                  <a:cubicBezTo>
                    <a:pt x="34" y="32"/>
                    <a:pt x="24" y="42"/>
                    <a:pt x="20" y="43"/>
                  </a:cubicBezTo>
                  <a:cubicBezTo>
                    <a:pt x="19" y="43"/>
                    <a:pt x="17" y="43"/>
                    <a:pt x="16" y="43"/>
                  </a:cubicBezTo>
                  <a:cubicBezTo>
                    <a:pt x="16" y="43"/>
                    <a:pt x="16" y="43"/>
                    <a:pt x="16" y="43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64" name="Забайкальский край">
              <a:extLst>
                <a:ext uri="{FF2B5EF4-FFF2-40B4-BE49-F238E27FC236}">
                  <a16:creationId xmlns="" xmlns:a16="http://schemas.microsoft.com/office/drawing/2014/main" id="{00000000-0008-0000-0300-000047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88569" y="6414997"/>
              <a:ext cx="1605287" cy="2128706"/>
            </a:xfrm>
            <a:custGeom>
              <a:avLst/>
              <a:gdLst/>
              <a:ahLst/>
              <a:cxnLst>
                <a:cxn ang="0">
                  <a:pos x="3" y="3520"/>
                </a:cxn>
                <a:cxn ang="0">
                  <a:pos x="141" y="3346"/>
                </a:cxn>
                <a:cxn ang="0">
                  <a:pos x="48" y="3192"/>
                </a:cxn>
                <a:cxn ang="0">
                  <a:pos x="75" y="3011"/>
                </a:cxn>
                <a:cxn ang="0">
                  <a:pos x="258" y="2959"/>
                </a:cxn>
                <a:cxn ang="0">
                  <a:pos x="510" y="2835"/>
                </a:cxn>
                <a:cxn ang="0">
                  <a:pos x="693" y="2584"/>
                </a:cxn>
                <a:cxn ang="0">
                  <a:pos x="995" y="2319"/>
                </a:cxn>
                <a:cxn ang="0">
                  <a:pos x="1027" y="2032"/>
                </a:cxn>
                <a:cxn ang="0">
                  <a:pos x="1066" y="1736"/>
                </a:cxn>
                <a:cxn ang="0">
                  <a:pos x="1390" y="1333"/>
                </a:cxn>
                <a:cxn ang="0">
                  <a:pos x="1144" y="1120"/>
                </a:cxn>
                <a:cxn ang="0">
                  <a:pos x="992" y="647"/>
                </a:cxn>
                <a:cxn ang="0">
                  <a:pos x="1142" y="311"/>
                </a:cxn>
                <a:cxn ang="0">
                  <a:pos x="1195" y="0"/>
                </a:cxn>
                <a:cxn ang="0">
                  <a:pos x="1334" y="82"/>
                </a:cxn>
                <a:cxn ang="0">
                  <a:pos x="1714" y="418"/>
                </a:cxn>
                <a:cxn ang="0">
                  <a:pos x="1858" y="613"/>
                </a:cxn>
                <a:cxn ang="0">
                  <a:pos x="1955" y="611"/>
                </a:cxn>
                <a:cxn ang="0">
                  <a:pos x="2064" y="648"/>
                </a:cxn>
                <a:cxn ang="0">
                  <a:pos x="2197" y="687"/>
                </a:cxn>
                <a:cxn ang="0">
                  <a:pos x="2285" y="778"/>
                </a:cxn>
                <a:cxn ang="0">
                  <a:pos x="2398" y="971"/>
                </a:cxn>
                <a:cxn ang="0">
                  <a:pos x="2338" y="1077"/>
                </a:cxn>
                <a:cxn ang="0">
                  <a:pos x="2546" y="1267"/>
                </a:cxn>
                <a:cxn ang="0">
                  <a:pos x="2328" y="1555"/>
                </a:cxn>
                <a:cxn ang="0">
                  <a:pos x="2461" y="1808"/>
                </a:cxn>
                <a:cxn ang="0">
                  <a:pos x="2488" y="1984"/>
                </a:cxn>
                <a:cxn ang="0">
                  <a:pos x="2493" y="2599"/>
                </a:cxn>
                <a:cxn ang="0">
                  <a:pos x="2358" y="2810"/>
                </a:cxn>
                <a:cxn ang="0">
                  <a:pos x="2022" y="2920"/>
                </a:cxn>
                <a:cxn ang="0">
                  <a:pos x="1651" y="2999"/>
                </a:cxn>
                <a:cxn ang="0">
                  <a:pos x="1270" y="3179"/>
                </a:cxn>
                <a:cxn ang="0">
                  <a:pos x="789" y="3615"/>
                </a:cxn>
                <a:cxn ang="0">
                  <a:pos x="64" y="3627"/>
                </a:cxn>
              </a:cxnLst>
              <a:rect l="0" t="0" r="r" b="b"/>
              <a:pathLst>
                <a:path w="2546" h="3691">
                  <a:moveTo>
                    <a:pt x="64" y="3627"/>
                  </a:moveTo>
                  <a:cubicBezTo>
                    <a:pt x="8" y="3583"/>
                    <a:pt x="0" y="3568"/>
                    <a:pt x="3" y="3520"/>
                  </a:cubicBezTo>
                  <a:cubicBezTo>
                    <a:pt x="6" y="3475"/>
                    <a:pt x="19" y="3456"/>
                    <a:pt x="74" y="3416"/>
                  </a:cubicBezTo>
                  <a:cubicBezTo>
                    <a:pt x="110" y="3389"/>
                    <a:pt x="141" y="3359"/>
                    <a:pt x="141" y="3346"/>
                  </a:cubicBezTo>
                  <a:cubicBezTo>
                    <a:pt x="142" y="3335"/>
                    <a:pt x="114" y="3314"/>
                    <a:pt x="78" y="3298"/>
                  </a:cubicBezTo>
                  <a:cubicBezTo>
                    <a:pt x="5" y="3267"/>
                    <a:pt x="2" y="3253"/>
                    <a:pt x="48" y="3192"/>
                  </a:cubicBezTo>
                  <a:cubicBezTo>
                    <a:pt x="78" y="3154"/>
                    <a:pt x="82" y="3143"/>
                    <a:pt x="66" y="3090"/>
                  </a:cubicBezTo>
                  <a:cubicBezTo>
                    <a:pt x="50" y="3040"/>
                    <a:pt x="51" y="3029"/>
                    <a:pt x="75" y="3011"/>
                  </a:cubicBezTo>
                  <a:cubicBezTo>
                    <a:pt x="91" y="2999"/>
                    <a:pt x="122" y="2994"/>
                    <a:pt x="149" y="2999"/>
                  </a:cubicBezTo>
                  <a:cubicBezTo>
                    <a:pt x="184" y="3005"/>
                    <a:pt x="208" y="2997"/>
                    <a:pt x="258" y="2959"/>
                  </a:cubicBezTo>
                  <a:cubicBezTo>
                    <a:pt x="301" y="2923"/>
                    <a:pt x="344" y="2906"/>
                    <a:pt x="403" y="2898"/>
                  </a:cubicBezTo>
                  <a:cubicBezTo>
                    <a:pt x="477" y="2888"/>
                    <a:pt x="490" y="2882"/>
                    <a:pt x="510" y="2835"/>
                  </a:cubicBezTo>
                  <a:cubicBezTo>
                    <a:pt x="525" y="2807"/>
                    <a:pt x="568" y="2752"/>
                    <a:pt x="610" y="2712"/>
                  </a:cubicBezTo>
                  <a:cubicBezTo>
                    <a:pt x="659" y="2664"/>
                    <a:pt x="686" y="2624"/>
                    <a:pt x="693" y="2584"/>
                  </a:cubicBezTo>
                  <a:cubicBezTo>
                    <a:pt x="702" y="2533"/>
                    <a:pt x="714" y="2522"/>
                    <a:pt x="803" y="2482"/>
                  </a:cubicBezTo>
                  <a:cubicBezTo>
                    <a:pt x="885" y="2443"/>
                    <a:pt x="918" y="2415"/>
                    <a:pt x="995" y="2319"/>
                  </a:cubicBezTo>
                  <a:cubicBezTo>
                    <a:pt x="1082" y="2210"/>
                    <a:pt x="1088" y="2195"/>
                    <a:pt x="1083" y="2128"/>
                  </a:cubicBezTo>
                  <a:cubicBezTo>
                    <a:pt x="1078" y="2064"/>
                    <a:pt x="1072" y="2053"/>
                    <a:pt x="1027" y="2032"/>
                  </a:cubicBezTo>
                  <a:cubicBezTo>
                    <a:pt x="954" y="2002"/>
                    <a:pt x="926" y="1915"/>
                    <a:pt x="971" y="1866"/>
                  </a:cubicBezTo>
                  <a:cubicBezTo>
                    <a:pt x="989" y="1847"/>
                    <a:pt x="1030" y="1789"/>
                    <a:pt x="1066" y="1736"/>
                  </a:cubicBezTo>
                  <a:cubicBezTo>
                    <a:pt x="1165" y="1579"/>
                    <a:pt x="1267" y="1459"/>
                    <a:pt x="1310" y="1448"/>
                  </a:cubicBezTo>
                  <a:cubicBezTo>
                    <a:pt x="1374" y="1431"/>
                    <a:pt x="1390" y="1408"/>
                    <a:pt x="1390" y="1333"/>
                  </a:cubicBezTo>
                  <a:cubicBezTo>
                    <a:pt x="1390" y="1279"/>
                    <a:pt x="1381" y="1255"/>
                    <a:pt x="1352" y="1226"/>
                  </a:cubicBezTo>
                  <a:cubicBezTo>
                    <a:pt x="1306" y="1184"/>
                    <a:pt x="1181" y="1120"/>
                    <a:pt x="1144" y="1120"/>
                  </a:cubicBezTo>
                  <a:cubicBezTo>
                    <a:pt x="1104" y="1120"/>
                    <a:pt x="902" y="789"/>
                    <a:pt x="891" y="704"/>
                  </a:cubicBezTo>
                  <a:cubicBezTo>
                    <a:pt x="886" y="669"/>
                    <a:pt x="894" y="664"/>
                    <a:pt x="992" y="647"/>
                  </a:cubicBezTo>
                  <a:cubicBezTo>
                    <a:pt x="1181" y="611"/>
                    <a:pt x="1240" y="562"/>
                    <a:pt x="1222" y="451"/>
                  </a:cubicBezTo>
                  <a:cubicBezTo>
                    <a:pt x="1202" y="323"/>
                    <a:pt x="1200" y="322"/>
                    <a:pt x="1142" y="311"/>
                  </a:cubicBezTo>
                  <a:cubicBezTo>
                    <a:pt x="1069" y="296"/>
                    <a:pt x="1038" y="240"/>
                    <a:pt x="1038" y="114"/>
                  </a:cubicBezTo>
                  <a:cubicBezTo>
                    <a:pt x="1038" y="2"/>
                    <a:pt x="1042" y="0"/>
                    <a:pt x="1195" y="0"/>
                  </a:cubicBezTo>
                  <a:lnTo>
                    <a:pt x="1302" y="0"/>
                  </a:lnTo>
                  <a:lnTo>
                    <a:pt x="1334" y="82"/>
                  </a:lnTo>
                  <a:cubicBezTo>
                    <a:pt x="1362" y="152"/>
                    <a:pt x="1387" y="183"/>
                    <a:pt x="1494" y="266"/>
                  </a:cubicBezTo>
                  <a:cubicBezTo>
                    <a:pt x="1565" y="322"/>
                    <a:pt x="1664" y="389"/>
                    <a:pt x="1714" y="418"/>
                  </a:cubicBezTo>
                  <a:cubicBezTo>
                    <a:pt x="1800" y="464"/>
                    <a:pt x="1805" y="471"/>
                    <a:pt x="1802" y="523"/>
                  </a:cubicBezTo>
                  <a:cubicBezTo>
                    <a:pt x="1798" y="571"/>
                    <a:pt x="1806" y="583"/>
                    <a:pt x="1858" y="613"/>
                  </a:cubicBezTo>
                  <a:lnTo>
                    <a:pt x="1917" y="647"/>
                  </a:lnTo>
                  <a:lnTo>
                    <a:pt x="1955" y="611"/>
                  </a:lnTo>
                  <a:cubicBezTo>
                    <a:pt x="1976" y="592"/>
                    <a:pt x="1997" y="576"/>
                    <a:pt x="2003" y="576"/>
                  </a:cubicBezTo>
                  <a:cubicBezTo>
                    <a:pt x="2008" y="576"/>
                    <a:pt x="2035" y="608"/>
                    <a:pt x="2064" y="648"/>
                  </a:cubicBezTo>
                  <a:cubicBezTo>
                    <a:pt x="2093" y="687"/>
                    <a:pt x="2125" y="720"/>
                    <a:pt x="2134" y="720"/>
                  </a:cubicBezTo>
                  <a:cubicBezTo>
                    <a:pt x="2146" y="720"/>
                    <a:pt x="2173" y="704"/>
                    <a:pt x="2197" y="687"/>
                  </a:cubicBezTo>
                  <a:cubicBezTo>
                    <a:pt x="2221" y="667"/>
                    <a:pt x="2243" y="655"/>
                    <a:pt x="2246" y="658"/>
                  </a:cubicBezTo>
                  <a:cubicBezTo>
                    <a:pt x="2248" y="661"/>
                    <a:pt x="2266" y="715"/>
                    <a:pt x="2285" y="778"/>
                  </a:cubicBezTo>
                  <a:cubicBezTo>
                    <a:pt x="2304" y="843"/>
                    <a:pt x="2336" y="909"/>
                    <a:pt x="2358" y="931"/>
                  </a:cubicBezTo>
                  <a:lnTo>
                    <a:pt x="2398" y="971"/>
                  </a:lnTo>
                  <a:lnTo>
                    <a:pt x="2365" y="1013"/>
                  </a:lnTo>
                  <a:cubicBezTo>
                    <a:pt x="2347" y="1037"/>
                    <a:pt x="2334" y="1066"/>
                    <a:pt x="2338" y="1077"/>
                  </a:cubicBezTo>
                  <a:cubicBezTo>
                    <a:pt x="2341" y="1090"/>
                    <a:pt x="2389" y="1136"/>
                    <a:pt x="2445" y="1183"/>
                  </a:cubicBezTo>
                  <a:lnTo>
                    <a:pt x="2546" y="1267"/>
                  </a:lnTo>
                  <a:lnTo>
                    <a:pt x="2456" y="1357"/>
                  </a:lnTo>
                  <a:cubicBezTo>
                    <a:pt x="2390" y="1424"/>
                    <a:pt x="2357" y="1475"/>
                    <a:pt x="2328" y="1555"/>
                  </a:cubicBezTo>
                  <a:cubicBezTo>
                    <a:pt x="2282" y="1675"/>
                    <a:pt x="2285" y="1704"/>
                    <a:pt x="2347" y="1719"/>
                  </a:cubicBezTo>
                  <a:cubicBezTo>
                    <a:pt x="2371" y="1725"/>
                    <a:pt x="2422" y="1765"/>
                    <a:pt x="2461" y="1808"/>
                  </a:cubicBezTo>
                  <a:lnTo>
                    <a:pt x="2531" y="1888"/>
                  </a:lnTo>
                  <a:lnTo>
                    <a:pt x="2488" y="1984"/>
                  </a:lnTo>
                  <a:cubicBezTo>
                    <a:pt x="2446" y="2077"/>
                    <a:pt x="2445" y="2088"/>
                    <a:pt x="2450" y="2319"/>
                  </a:cubicBezTo>
                  <a:cubicBezTo>
                    <a:pt x="2454" y="2544"/>
                    <a:pt x="2456" y="2559"/>
                    <a:pt x="2493" y="2599"/>
                  </a:cubicBezTo>
                  <a:cubicBezTo>
                    <a:pt x="2538" y="2645"/>
                    <a:pt x="2525" y="2671"/>
                    <a:pt x="2445" y="2704"/>
                  </a:cubicBezTo>
                  <a:cubicBezTo>
                    <a:pt x="2410" y="2719"/>
                    <a:pt x="2386" y="2747"/>
                    <a:pt x="2358" y="2810"/>
                  </a:cubicBezTo>
                  <a:cubicBezTo>
                    <a:pt x="2334" y="2864"/>
                    <a:pt x="2307" y="2901"/>
                    <a:pt x="2283" y="2909"/>
                  </a:cubicBezTo>
                  <a:cubicBezTo>
                    <a:pt x="2202" y="2941"/>
                    <a:pt x="2102" y="2944"/>
                    <a:pt x="2022" y="2920"/>
                  </a:cubicBezTo>
                  <a:cubicBezTo>
                    <a:pt x="1901" y="2883"/>
                    <a:pt x="1880" y="2888"/>
                    <a:pt x="1830" y="2960"/>
                  </a:cubicBezTo>
                  <a:cubicBezTo>
                    <a:pt x="1781" y="3032"/>
                    <a:pt x="1773" y="3034"/>
                    <a:pt x="1651" y="2999"/>
                  </a:cubicBezTo>
                  <a:cubicBezTo>
                    <a:pt x="1546" y="2968"/>
                    <a:pt x="1416" y="2975"/>
                    <a:pt x="1378" y="3015"/>
                  </a:cubicBezTo>
                  <a:cubicBezTo>
                    <a:pt x="1363" y="3029"/>
                    <a:pt x="1315" y="3103"/>
                    <a:pt x="1270" y="3179"/>
                  </a:cubicBezTo>
                  <a:cubicBezTo>
                    <a:pt x="1194" y="3312"/>
                    <a:pt x="1181" y="3325"/>
                    <a:pt x="989" y="3466"/>
                  </a:cubicBezTo>
                  <a:lnTo>
                    <a:pt x="789" y="3615"/>
                  </a:lnTo>
                  <a:lnTo>
                    <a:pt x="522" y="3647"/>
                  </a:lnTo>
                  <a:cubicBezTo>
                    <a:pt x="160" y="3691"/>
                    <a:pt x="144" y="3691"/>
                    <a:pt x="64" y="3627"/>
                  </a:cubicBezTo>
                  <a:close/>
                </a:path>
              </a:pathLst>
            </a:custGeom>
            <a:solidFill>
              <a:srgbClr val="153255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65" name="Костромская область">
              <a:extLst>
                <a:ext uri="{FF2B5EF4-FFF2-40B4-BE49-F238E27FC236}">
                  <a16:creationId xmlns="" xmlns:a16="http://schemas.microsoft.com/office/drawing/2014/main" id="{00000000-0008-0000-0300-000048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1441" y="5152518"/>
              <a:ext cx="913007" cy="423898"/>
            </a:xfrm>
            <a:custGeom>
              <a:avLst/>
              <a:gdLst/>
              <a:ahLst/>
              <a:cxnLst>
                <a:cxn ang="0">
                  <a:pos x="922" y="645"/>
                </a:cxn>
                <a:cxn ang="0">
                  <a:pos x="811" y="571"/>
                </a:cxn>
                <a:cxn ang="0">
                  <a:pos x="752" y="607"/>
                </a:cxn>
                <a:cxn ang="0">
                  <a:pos x="482" y="587"/>
                </a:cxn>
                <a:cxn ang="0">
                  <a:pos x="406" y="496"/>
                </a:cxn>
                <a:cxn ang="0">
                  <a:pos x="328" y="370"/>
                </a:cxn>
                <a:cxn ang="0">
                  <a:pos x="203" y="303"/>
                </a:cxn>
                <a:cxn ang="0">
                  <a:pos x="34" y="290"/>
                </a:cxn>
                <a:cxn ang="0">
                  <a:pos x="240" y="114"/>
                </a:cxn>
                <a:cxn ang="0">
                  <a:pos x="408" y="26"/>
                </a:cxn>
                <a:cxn ang="0">
                  <a:pos x="589" y="0"/>
                </a:cxn>
                <a:cxn ang="0">
                  <a:pos x="901" y="139"/>
                </a:cxn>
                <a:cxn ang="0">
                  <a:pos x="1182" y="367"/>
                </a:cxn>
                <a:cxn ang="0">
                  <a:pos x="1341" y="378"/>
                </a:cxn>
                <a:cxn ang="0">
                  <a:pos x="1456" y="373"/>
                </a:cxn>
                <a:cxn ang="0">
                  <a:pos x="1432" y="416"/>
                </a:cxn>
                <a:cxn ang="0">
                  <a:pos x="1408" y="520"/>
                </a:cxn>
                <a:cxn ang="0">
                  <a:pos x="1408" y="605"/>
                </a:cxn>
                <a:cxn ang="0">
                  <a:pos x="1318" y="597"/>
                </a:cxn>
                <a:cxn ang="0">
                  <a:pos x="1170" y="627"/>
                </a:cxn>
                <a:cxn ang="0">
                  <a:pos x="922" y="645"/>
                </a:cxn>
              </a:cxnLst>
              <a:rect l="0" t="0" r="r" b="b"/>
              <a:pathLst>
                <a:path w="1456" h="730">
                  <a:moveTo>
                    <a:pt x="922" y="645"/>
                  </a:moveTo>
                  <a:lnTo>
                    <a:pt x="811" y="571"/>
                  </a:lnTo>
                  <a:lnTo>
                    <a:pt x="752" y="607"/>
                  </a:lnTo>
                  <a:cubicBezTo>
                    <a:pt x="664" y="656"/>
                    <a:pt x="579" y="650"/>
                    <a:pt x="482" y="587"/>
                  </a:cubicBezTo>
                  <a:cubicBezTo>
                    <a:pt x="414" y="544"/>
                    <a:pt x="402" y="530"/>
                    <a:pt x="406" y="496"/>
                  </a:cubicBezTo>
                  <a:cubicBezTo>
                    <a:pt x="411" y="467"/>
                    <a:pt x="394" y="437"/>
                    <a:pt x="328" y="370"/>
                  </a:cubicBezTo>
                  <a:cubicBezTo>
                    <a:pt x="246" y="285"/>
                    <a:pt x="242" y="282"/>
                    <a:pt x="203" y="303"/>
                  </a:cubicBezTo>
                  <a:cubicBezTo>
                    <a:pt x="162" y="323"/>
                    <a:pt x="78" y="317"/>
                    <a:pt x="34" y="290"/>
                  </a:cubicBezTo>
                  <a:cubicBezTo>
                    <a:pt x="0" y="267"/>
                    <a:pt x="96" y="187"/>
                    <a:pt x="240" y="114"/>
                  </a:cubicBezTo>
                  <a:cubicBezTo>
                    <a:pt x="306" y="79"/>
                    <a:pt x="382" y="40"/>
                    <a:pt x="408" y="26"/>
                  </a:cubicBezTo>
                  <a:cubicBezTo>
                    <a:pt x="442" y="8"/>
                    <a:pt x="498" y="0"/>
                    <a:pt x="589" y="0"/>
                  </a:cubicBezTo>
                  <a:cubicBezTo>
                    <a:pt x="754" y="0"/>
                    <a:pt x="827" y="32"/>
                    <a:pt x="901" y="139"/>
                  </a:cubicBezTo>
                  <a:cubicBezTo>
                    <a:pt x="1010" y="296"/>
                    <a:pt x="1045" y="325"/>
                    <a:pt x="1182" y="367"/>
                  </a:cubicBezTo>
                  <a:cubicBezTo>
                    <a:pt x="1304" y="402"/>
                    <a:pt x="1314" y="403"/>
                    <a:pt x="1341" y="378"/>
                  </a:cubicBezTo>
                  <a:cubicBezTo>
                    <a:pt x="1378" y="346"/>
                    <a:pt x="1456" y="343"/>
                    <a:pt x="1456" y="373"/>
                  </a:cubicBezTo>
                  <a:cubicBezTo>
                    <a:pt x="1456" y="386"/>
                    <a:pt x="1445" y="405"/>
                    <a:pt x="1432" y="416"/>
                  </a:cubicBezTo>
                  <a:cubicBezTo>
                    <a:pt x="1416" y="429"/>
                    <a:pt x="1408" y="464"/>
                    <a:pt x="1408" y="520"/>
                  </a:cubicBezTo>
                  <a:lnTo>
                    <a:pt x="1408" y="605"/>
                  </a:lnTo>
                  <a:lnTo>
                    <a:pt x="1318" y="597"/>
                  </a:lnTo>
                  <a:cubicBezTo>
                    <a:pt x="1243" y="591"/>
                    <a:pt x="1219" y="595"/>
                    <a:pt x="1170" y="627"/>
                  </a:cubicBezTo>
                  <a:cubicBezTo>
                    <a:pt x="1016" y="730"/>
                    <a:pt x="1043" y="728"/>
                    <a:pt x="922" y="645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66" name="Иркутская область">
              <a:extLst>
                <a:ext uri="{FF2B5EF4-FFF2-40B4-BE49-F238E27FC236}">
                  <a16:creationId xmlns="" xmlns:a16="http://schemas.microsoft.com/office/drawing/2014/main" id="{00000000-0008-0000-0300-000049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52523" y="5576416"/>
              <a:ext cx="2628657" cy="2746122"/>
            </a:xfrm>
            <a:custGeom>
              <a:avLst/>
              <a:gdLst/>
              <a:ahLst/>
              <a:cxnLst>
                <a:cxn ang="0">
                  <a:pos x="1845" y="4693"/>
                </a:cxn>
                <a:cxn ang="0">
                  <a:pos x="1506" y="4461"/>
                </a:cxn>
                <a:cxn ang="0">
                  <a:pos x="1063" y="4231"/>
                </a:cxn>
                <a:cxn ang="0">
                  <a:pos x="759" y="4274"/>
                </a:cxn>
                <a:cxn ang="0">
                  <a:pos x="476" y="4194"/>
                </a:cxn>
                <a:cxn ang="0">
                  <a:pos x="72" y="4021"/>
                </a:cxn>
                <a:cxn ang="0">
                  <a:pos x="80" y="3869"/>
                </a:cxn>
                <a:cxn ang="0">
                  <a:pos x="191" y="3645"/>
                </a:cxn>
                <a:cxn ang="0">
                  <a:pos x="311" y="3189"/>
                </a:cxn>
                <a:cxn ang="0">
                  <a:pos x="322" y="2984"/>
                </a:cxn>
                <a:cxn ang="0">
                  <a:pos x="320" y="2717"/>
                </a:cxn>
                <a:cxn ang="0">
                  <a:pos x="460" y="2613"/>
                </a:cxn>
                <a:cxn ang="0">
                  <a:pos x="674" y="2512"/>
                </a:cxn>
                <a:cxn ang="0">
                  <a:pos x="869" y="2682"/>
                </a:cxn>
                <a:cxn ang="0">
                  <a:pos x="1045" y="2311"/>
                </a:cxn>
                <a:cxn ang="0">
                  <a:pos x="1144" y="2066"/>
                </a:cxn>
                <a:cxn ang="0">
                  <a:pos x="1332" y="2024"/>
                </a:cxn>
                <a:cxn ang="0">
                  <a:pos x="1600" y="2063"/>
                </a:cxn>
                <a:cxn ang="0">
                  <a:pos x="1600" y="1796"/>
                </a:cxn>
                <a:cxn ang="0">
                  <a:pos x="1584" y="1554"/>
                </a:cxn>
                <a:cxn ang="0">
                  <a:pos x="1434" y="1391"/>
                </a:cxn>
                <a:cxn ang="0">
                  <a:pos x="1424" y="1167"/>
                </a:cxn>
                <a:cxn ang="0">
                  <a:pos x="1594" y="767"/>
                </a:cxn>
                <a:cxn ang="0">
                  <a:pos x="1562" y="535"/>
                </a:cxn>
                <a:cxn ang="0">
                  <a:pos x="1514" y="314"/>
                </a:cxn>
                <a:cxn ang="0">
                  <a:pos x="1634" y="69"/>
                </a:cxn>
                <a:cxn ang="0">
                  <a:pos x="1724" y="104"/>
                </a:cxn>
                <a:cxn ang="0">
                  <a:pos x="1893" y="213"/>
                </a:cxn>
                <a:cxn ang="0">
                  <a:pos x="2020" y="456"/>
                </a:cxn>
                <a:cxn ang="0">
                  <a:pos x="2144" y="631"/>
                </a:cxn>
                <a:cxn ang="0">
                  <a:pos x="2303" y="957"/>
                </a:cxn>
                <a:cxn ang="0">
                  <a:pos x="2316" y="1634"/>
                </a:cxn>
                <a:cxn ang="0">
                  <a:pos x="2567" y="1696"/>
                </a:cxn>
                <a:cxn ang="0">
                  <a:pos x="2933" y="1541"/>
                </a:cxn>
                <a:cxn ang="0">
                  <a:pos x="3064" y="1522"/>
                </a:cxn>
                <a:cxn ang="0">
                  <a:pos x="3207" y="1112"/>
                </a:cxn>
                <a:cxn ang="0">
                  <a:pos x="3624" y="1005"/>
                </a:cxn>
                <a:cxn ang="0">
                  <a:pos x="3816" y="1069"/>
                </a:cxn>
                <a:cxn ang="0">
                  <a:pos x="4189" y="1381"/>
                </a:cxn>
                <a:cxn ang="0">
                  <a:pos x="3920" y="1572"/>
                </a:cxn>
                <a:cxn ang="0">
                  <a:pos x="4109" y="1940"/>
                </a:cxn>
                <a:cxn ang="0">
                  <a:pos x="3852" y="2064"/>
                </a:cxn>
                <a:cxn ang="0">
                  <a:pos x="3858" y="1941"/>
                </a:cxn>
                <a:cxn ang="0">
                  <a:pos x="3639" y="2120"/>
                </a:cxn>
                <a:cxn ang="0">
                  <a:pos x="3391" y="2341"/>
                </a:cxn>
                <a:cxn ang="0">
                  <a:pos x="3183" y="2287"/>
                </a:cxn>
                <a:cxn ang="0">
                  <a:pos x="2951" y="2341"/>
                </a:cxn>
                <a:cxn ang="0">
                  <a:pos x="2672" y="2469"/>
                </a:cxn>
                <a:cxn ang="0">
                  <a:pos x="2495" y="2668"/>
                </a:cxn>
                <a:cxn ang="0">
                  <a:pos x="2588" y="2812"/>
                </a:cxn>
                <a:cxn ang="0">
                  <a:pos x="2624" y="3191"/>
                </a:cxn>
                <a:cxn ang="0">
                  <a:pos x="2688" y="3660"/>
                </a:cxn>
                <a:cxn ang="0">
                  <a:pos x="2488" y="4055"/>
                </a:cxn>
                <a:cxn ang="0">
                  <a:pos x="2175" y="4484"/>
                </a:cxn>
                <a:cxn ang="0">
                  <a:pos x="2005" y="4725"/>
                </a:cxn>
                <a:cxn ang="0">
                  <a:pos x="1917" y="4735"/>
                </a:cxn>
              </a:cxnLst>
              <a:rect l="0" t="0" r="r" b="b"/>
              <a:pathLst>
                <a:path w="4192" h="4764">
                  <a:moveTo>
                    <a:pt x="1917" y="4735"/>
                  </a:moveTo>
                  <a:cubicBezTo>
                    <a:pt x="1911" y="4714"/>
                    <a:pt x="1888" y="4701"/>
                    <a:pt x="1845" y="4693"/>
                  </a:cubicBezTo>
                  <a:cubicBezTo>
                    <a:pt x="1789" y="4684"/>
                    <a:pt x="1783" y="4677"/>
                    <a:pt x="1788" y="4647"/>
                  </a:cubicBezTo>
                  <a:cubicBezTo>
                    <a:pt x="1799" y="4594"/>
                    <a:pt x="1596" y="4461"/>
                    <a:pt x="1506" y="4461"/>
                  </a:cubicBezTo>
                  <a:cubicBezTo>
                    <a:pt x="1460" y="4461"/>
                    <a:pt x="1388" y="4434"/>
                    <a:pt x="1258" y="4370"/>
                  </a:cubicBezTo>
                  <a:cubicBezTo>
                    <a:pt x="1093" y="4290"/>
                    <a:pt x="1072" y="4274"/>
                    <a:pt x="1063" y="4231"/>
                  </a:cubicBezTo>
                  <a:cubicBezTo>
                    <a:pt x="1042" y="4130"/>
                    <a:pt x="964" y="4128"/>
                    <a:pt x="868" y="4228"/>
                  </a:cubicBezTo>
                  <a:cubicBezTo>
                    <a:pt x="799" y="4298"/>
                    <a:pt x="797" y="4300"/>
                    <a:pt x="759" y="4274"/>
                  </a:cubicBezTo>
                  <a:cubicBezTo>
                    <a:pt x="727" y="4253"/>
                    <a:pt x="711" y="4252"/>
                    <a:pt x="679" y="4266"/>
                  </a:cubicBezTo>
                  <a:cubicBezTo>
                    <a:pt x="642" y="4284"/>
                    <a:pt x="621" y="4276"/>
                    <a:pt x="476" y="4194"/>
                  </a:cubicBezTo>
                  <a:cubicBezTo>
                    <a:pt x="336" y="4117"/>
                    <a:pt x="300" y="4103"/>
                    <a:pt x="228" y="4101"/>
                  </a:cubicBezTo>
                  <a:cubicBezTo>
                    <a:pt x="146" y="4101"/>
                    <a:pt x="140" y="4096"/>
                    <a:pt x="72" y="4021"/>
                  </a:cubicBezTo>
                  <a:cubicBezTo>
                    <a:pt x="34" y="3976"/>
                    <a:pt x="2" y="3936"/>
                    <a:pt x="0" y="3930"/>
                  </a:cubicBezTo>
                  <a:cubicBezTo>
                    <a:pt x="0" y="3925"/>
                    <a:pt x="37" y="3896"/>
                    <a:pt x="80" y="3869"/>
                  </a:cubicBezTo>
                  <a:cubicBezTo>
                    <a:pt x="125" y="3840"/>
                    <a:pt x="160" y="3816"/>
                    <a:pt x="162" y="3815"/>
                  </a:cubicBezTo>
                  <a:cubicBezTo>
                    <a:pt x="162" y="3813"/>
                    <a:pt x="175" y="3736"/>
                    <a:pt x="191" y="3645"/>
                  </a:cubicBezTo>
                  <a:cubicBezTo>
                    <a:pt x="216" y="3498"/>
                    <a:pt x="216" y="3469"/>
                    <a:pt x="199" y="3415"/>
                  </a:cubicBezTo>
                  <a:cubicBezTo>
                    <a:pt x="173" y="3344"/>
                    <a:pt x="165" y="3360"/>
                    <a:pt x="311" y="3189"/>
                  </a:cubicBezTo>
                  <a:lnTo>
                    <a:pt x="373" y="3116"/>
                  </a:lnTo>
                  <a:lnTo>
                    <a:pt x="322" y="2984"/>
                  </a:lnTo>
                  <a:cubicBezTo>
                    <a:pt x="295" y="2911"/>
                    <a:pt x="272" y="2842"/>
                    <a:pt x="272" y="2831"/>
                  </a:cubicBezTo>
                  <a:cubicBezTo>
                    <a:pt x="272" y="2821"/>
                    <a:pt x="293" y="2770"/>
                    <a:pt x="320" y="2717"/>
                  </a:cubicBezTo>
                  <a:lnTo>
                    <a:pt x="368" y="2623"/>
                  </a:lnTo>
                  <a:lnTo>
                    <a:pt x="460" y="2613"/>
                  </a:lnTo>
                  <a:cubicBezTo>
                    <a:pt x="604" y="2597"/>
                    <a:pt x="616" y="2592"/>
                    <a:pt x="640" y="2549"/>
                  </a:cubicBezTo>
                  <a:cubicBezTo>
                    <a:pt x="653" y="2527"/>
                    <a:pt x="668" y="2509"/>
                    <a:pt x="674" y="2512"/>
                  </a:cubicBezTo>
                  <a:cubicBezTo>
                    <a:pt x="680" y="2514"/>
                    <a:pt x="716" y="2556"/>
                    <a:pt x="752" y="2602"/>
                  </a:cubicBezTo>
                  <a:cubicBezTo>
                    <a:pt x="810" y="2676"/>
                    <a:pt x="824" y="2685"/>
                    <a:pt x="869" y="2682"/>
                  </a:cubicBezTo>
                  <a:cubicBezTo>
                    <a:pt x="920" y="2677"/>
                    <a:pt x="920" y="2676"/>
                    <a:pt x="922" y="2588"/>
                  </a:cubicBezTo>
                  <a:cubicBezTo>
                    <a:pt x="922" y="2504"/>
                    <a:pt x="930" y="2487"/>
                    <a:pt x="1045" y="2311"/>
                  </a:cubicBezTo>
                  <a:lnTo>
                    <a:pt x="1168" y="2125"/>
                  </a:lnTo>
                  <a:lnTo>
                    <a:pt x="1144" y="2066"/>
                  </a:lnTo>
                  <a:cubicBezTo>
                    <a:pt x="1111" y="1988"/>
                    <a:pt x="1112" y="1983"/>
                    <a:pt x="1176" y="1972"/>
                  </a:cubicBezTo>
                  <a:cubicBezTo>
                    <a:pt x="1223" y="1964"/>
                    <a:pt x="1247" y="1972"/>
                    <a:pt x="1332" y="2024"/>
                  </a:cubicBezTo>
                  <a:cubicBezTo>
                    <a:pt x="1431" y="2087"/>
                    <a:pt x="1541" y="2125"/>
                    <a:pt x="1581" y="2112"/>
                  </a:cubicBezTo>
                  <a:cubicBezTo>
                    <a:pt x="1591" y="2109"/>
                    <a:pt x="1600" y="2087"/>
                    <a:pt x="1600" y="2063"/>
                  </a:cubicBezTo>
                  <a:cubicBezTo>
                    <a:pt x="1600" y="2040"/>
                    <a:pt x="1615" y="1989"/>
                    <a:pt x="1632" y="1951"/>
                  </a:cubicBezTo>
                  <a:cubicBezTo>
                    <a:pt x="1676" y="1855"/>
                    <a:pt x="1674" y="1844"/>
                    <a:pt x="1600" y="1796"/>
                  </a:cubicBezTo>
                  <a:cubicBezTo>
                    <a:pt x="1530" y="1749"/>
                    <a:pt x="1527" y="1736"/>
                    <a:pt x="1560" y="1677"/>
                  </a:cubicBezTo>
                  <a:cubicBezTo>
                    <a:pt x="1573" y="1655"/>
                    <a:pt x="1584" y="1599"/>
                    <a:pt x="1584" y="1554"/>
                  </a:cubicBezTo>
                  <a:cubicBezTo>
                    <a:pt x="1584" y="1474"/>
                    <a:pt x="1583" y="1471"/>
                    <a:pt x="1532" y="1453"/>
                  </a:cubicBezTo>
                  <a:cubicBezTo>
                    <a:pt x="1501" y="1444"/>
                    <a:pt x="1458" y="1415"/>
                    <a:pt x="1434" y="1391"/>
                  </a:cubicBezTo>
                  <a:cubicBezTo>
                    <a:pt x="1394" y="1348"/>
                    <a:pt x="1391" y="1340"/>
                    <a:pt x="1407" y="1282"/>
                  </a:cubicBezTo>
                  <a:cubicBezTo>
                    <a:pt x="1416" y="1248"/>
                    <a:pt x="1424" y="1196"/>
                    <a:pt x="1424" y="1167"/>
                  </a:cubicBezTo>
                  <a:cubicBezTo>
                    <a:pt x="1424" y="1125"/>
                    <a:pt x="1442" y="1092"/>
                    <a:pt x="1495" y="1031"/>
                  </a:cubicBezTo>
                  <a:cubicBezTo>
                    <a:pt x="1562" y="951"/>
                    <a:pt x="1565" y="941"/>
                    <a:pt x="1594" y="767"/>
                  </a:cubicBezTo>
                  <a:lnTo>
                    <a:pt x="1623" y="586"/>
                  </a:lnTo>
                  <a:lnTo>
                    <a:pt x="1562" y="535"/>
                  </a:lnTo>
                  <a:lnTo>
                    <a:pt x="1501" y="485"/>
                  </a:lnTo>
                  <a:lnTo>
                    <a:pt x="1514" y="314"/>
                  </a:lnTo>
                  <a:lnTo>
                    <a:pt x="1525" y="143"/>
                  </a:lnTo>
                  <a:lnTo>
                    <a:pt x="1634" y="69"/>
                  </a:lnTo>
                  <a:cubicBezTo>
                    <a:pt x="1732" y="5"/>
                    <a:pt x="1744" y="0"/>
                    <a:pt x="1759" y="24"/>
                  </a:cubicBezTo>
                  <a:cubicBezTo>
                    <a:pt x="1772" y="47"/>
                    <a:pt x="1764" y="64"/>
                    <a:pt x="1724" y="104"/>
                  </a:cubicBezTo>
                  <a:cubicBezTo>
                    <a:pt x="1663" y="168"/>
                    <a:pt x="1674" y="183"/>
                    <a:pt x="1799" y="199"/>
                  </a:cubicBezTo>
                  <a:lnTo>
                    <a:pt x="1893" y="213"/>
                  </a:lnTo>
                  <a:lnTo>
                    <a:pt x="1954" y="312"/>
                  </a:lnTo>
                  <a:cubicBezTo>
                    <a:pt x="1988" y="367"/>
                    <a:pt x="2016" y="432"/>
                    <a:pt x="2020" y="456"/>
                  </a:cubicBezTo>
                  <a:cubicBezTo>
                    <a:pt x="2023" y="487"/>
                    <a:pt x="2045" y="514"/>
                    <a:pt x="2092" y="544"/>
                  </a:cubicBezTo>
                  <a:cubicBezTo>
                    <a:pt x="2152" y="586"/>
                    <a:pt x="2157" y="594"/>
                    <a:pt x="2144" y="631"/>
                  </a:cubicBezTo>
                  <a:cubicBezTo>
                    <a:pt x="2135" y="653"/>
                    <a:pt x="2128" y="685"/>
                    <a:pt x="2128" y="701"/>
                  </a:cubicBezTo>
                  <a:cubicBezTo>
                    <a:pt x="2128" y="746"/>
                    <a:pt x="2272" y="957"/>
                    <a:pt x="2303" y="957"/>
                  </a:cubicBezTo>
                  <a:cubicBezTo>
                    <a:pt x="2372" y="957"/>
                    <a:pt x="2373" y="967"/>
                    <a:pt x="2344" y="1309"/>
                  </a:cubicBezTo>
                  <a:lnTo>
                    <a:pt x="2316" y="1634"/>
                  </a:lnTo>
                  <a:lnTo>
                    <a:pt x="2378" y="1687"/>
                  </a:lnTo>
                  <a:cubicBezTo>
                    <a:pt x="2472" y="1768"/>
                    <a:pt x="2490" y="1768"/>
                    <a:pt x="2567" y="1696"/>
                  </a:cubicBezTo>
                  <a:cubicBezTo>
                    <a:pt x="2629" y="1637"/>
                    <a:pt x="2852" y="1485"/>
                    <a:pt x="2877" y="1485"/>
                  </a:cubicBezTo>
                  <a:cubicBezTo>
                    <a:pt x="2884" y="1485"/>
                    <a:pt x="2909" y="1509"/>
                    <a:pt x="2933" y="1541"/>
                  </a:cubicBezTo>
                  <a:cubicBezTo>
                    <a:pt x="2957" y="1572"/>
                    <a:pt x="2984" y="1597"/>
                    <a:pt x="2992" y="1597"/>
                  </a:cubicBezTo>
                  <a:cubicBezTo>
                    <a:pt x="3000" y="1597"/>
                    <a:pt x="3032" y="1564"/>
                    <a:pt x="3064" y="1522"/>
                  </a:cubicBezTo>
                  <a:cubicBezTo>
                    <a:pt x="3111" y="1461"/>
                    <a:pt x="3120" y="1434"/>
                    <a:pt x="3120" y="1372"/>
                  </a:cubicBezTo>
                  <a:cubicBezTo>
                    <a:pt x="3120" y="1312"/>
                    <a:pt x="3140" y="1253"/>
                    <a:pt x="3207" y="1112"/>
                  </a:cubicBezTo>
                  <a:cubicBezTo>
                    <a:pt x="3292" y="932"/>
                    <a:pt x="3293" y="930"/>
                    <a:pt x="3354" y="919"/>
                  </a:cubicBezTo>
                  <a:cubicBezTo>
                    <a:pt x="3501" y="895"/>
                    <a:pt x="3522" y="901"/>
                    <a:pt x="3624" y="1005"/>
                  </a:cubicBezTo>
                  <a:cubicBezTo>
                    <a:pt x="3677" y="1058"/>
                    <a:pt x="3727" y="1101"/>
                    <a:pt x="3736" y="1100"/>
                  </a:cubicBezTo>
                  <a:cubicBezTo>
                    <a:pt x="3744" y="1100"/>
                    <a:pt x="3781" y="1085"/>
                    <a:pt x="3816" y="1069"/>
                  </a:cubicBezTo>
                  <a:cubicBezTo>
                    <a:pt x="3852" y="1052"/>
                    <a:pt x="3893" y="1037"/>
                    <a:pt x="3908" y="1037"/>
                  </a:cubicBezTo>
                  <a:cubicBezTo>
                    <a:pt x="3935" y="1037"/>
                    <a:pt x="4178" y="1335"/>
                    <a:pt x="4189" y="1381"/>
                  </a:cubicBezTo>
                  <a:cubicBezTo>
                    <a:pt x="4192" y="1396"/>
                    <a:pt x="4162" y="1405"/>
                    <a:pt x="4072" y="1413"/>
                  </a:cubicBezTo>
                  <a:cubicBezTo>
                    <a:pt x="3932" y="1426"/>
                    <a:pt x="3920" y="1437"/>
                    <a:pt x="3920" y="1572"/>
                  </a:cubicBezTo>
                  <a:cubicBezTo>
                    <a:pt x="3920" y="1692"/>
                    <a:pt x="3965" y="1783"/>
                    <a:pt x="4032" y="1797"/>
                  </a:cubicBezTo>
                  <a:cubicBezTo>
                    <a:pt x="4088" y="1808"/>
                    <a:pt x="4117" y="1861"/>
                    <a:pt x="4109" y="1940"/>
                  </a:cubicBezTo>
                  <a:cubicBezTo>
                    <a:pt x="4103" y="1999"/>
                    <a:pt x="4042" y="2037"/>
                    <a:pt x="3930" y="2053"/>
                  </a:cubicBezTo>
                  <a:lnTo>
                    <a:pt x="3852" y="2064"/>
                  </a:lnTo>
                  <a:lnTo>
                    <a:pt x="3879" y="2028"/>
                  </a:lnTo>
                  <a:cubicBezTo>
                    <a:pt x="3914" y="1976"/>
                    <a:pt x="3912" y="1970"/>
                    <a:pt x="3858" y="1941"/>
                  </a:cubicBezTo>
                  <a:cubicBezTo>
                    <a:pt x="3813" y="1919"/>
                    <a:pt x="3810" y="1919"/>
                    <a:pt x="3730" y="1983"/>
                  </a:cubicBezTo>
                  <a:cubicBezTo>
                    <a:pt x="3661" y="2040"/>
                    <a:pt x="3648" y="2060"/>
                    <a:pt x="3639" y="2120"/>
                  </a:cubicBezTo>
                  <a:cubicBezTo>
                    <a:pt x="3632" y="2167"/>
                    <a:pt x="3612" y="2212"/>
                    <a:pt x="3580" y="2247"/>
                  </a:cubicBezTo>
                  <a:cubicBezTo>
                    <a:pt x="3519" y="2317"/>
                    <a:pt x="3500" y="2327"/>
                    <a:pt x="3391" y="2341"/>
                  </a:cubicBezTo>
                  <a:cubicBezTo>
                    <a:pt x="3301" y="2352"/>
                    <a:pt x="3301" y="2352"/>
                    <a:pt x="3284" y="2303"/>
                  </a:cubicBezTo>
                  <a:cubicBezTo>
                    <a:pt x="3263" y="2244"/>
                    <a:pt x="3245" y="2240"/>
                    <a:pt x="3183" y="2287"/>
                  </a:cubicBezTo>
                  <a:cubicBezTo>
                    <a:pt x="3138" y="2317"/>
                    <a:pt x="3132" y="2319"/>
                    <a:pt x="3066" y="2296"/>
                  </a:cubicBezTo>
                  <a:cubicBezTo>
                    <a:pt x="2986" y="2268"/>
                    <a:pt x="2967" y="2276"/>
                    <a:pt x="2951" y="2341"/>
                  </a:cubicBezTo>
                  <a:cubicBezTo>
                    <a:pt x="2936" y="2404"/>
                    <a:pt x="2920" y="2412"/>
                    <a:pt x="2813" y="2413"/>
                  </a:cubicBezTo>
                  <a:cubicBezTo>
                    <a:pt x="2698" y="2413"/>
                    <a:pt x="2672" y="2423"/>
                    <a:pt x="2672" y="2469"/>
                  </a:cubicBezTo>
                  <a:cubicBezTo>
                    <a:pt x="2672" y="2514"/>
                    <a:pt x="2656" y="2530"/>
                    <a:pt x="2568" y="2578"/>
                  </a:cubicBezTo>
                  <a:cubicBezTo>
                    <a:pt x="2520" y="2605"/>
                    <a:pt x="2503" y="2626"/>
                    <a:pt x="2495" y="2668"/>
                  </a:cubicBezTo>
                  <a:cubicBezTo>
                    <a:pt x="2482" y="2733"/>
                    <a:pt x="2490" y="2760"/>
                    <a:pt x="2527" y="2772"/>
                  </a:cubicBezTo>
                  <a:cubicBezTo>
                    <a:pt x="2543" y="2776"/>
                    <a:pt x="2570" y="2796"/>
                    <a:pt x="2588" y="2812"/>
                  </a:cubicBezTo>
                  <a:cubicBezTo>
                    <a:pt x="2620" y="2842"/>
                    <a:pt x="2621" y="2847"/>
                    <a:pt x="2597" y="2938"/>
                  </a:cubicBezTo>
                  <a:cubicBezTo>
                    <a:pt x="2573" y="3034"/>
                    <a:pt x="2573" y="3036"/>
                    <a:pt x="2624" y="3191"/>
                  </a:cubicBezTo>
                  <a:cubicBezTo>
                    <a:pt x="2653" y="3279"/>
                    <a:pt x="2682" y="3356"/>
                    <a:pt x="2690" y="3364"/>
                  </a:cubicBezTo>
                  <a:cubicBezTo>
                    <a:pt x="2709" y="3384"/>
                    <a:pt x="2708" y="3532"/>
                    <a:pt x="2688" y="3660"/>
                  </a:cubicBezTo>
                  <a:cubicBezTo>
                    <a:pt x="2679" y="3717"/>
                    <a:pt x="2668" y="3788"/>
                    <a:pt x="2663" y="3815"/>
                  </a:cubicBezTo>
                  <a:cubicBezTo>
                    <a:pt x="2658" y="3850"/>
                    <a:pt x="2605" y="3922"/>
                    <a:pt x="2488" y="4055"/>
                  </a:cubicBezTo>
                  <a:cubicBezTo>
                    <a:pt x="2386" y="4170"/>
                    <a:pt x="2314" y="4268"/>
                    <a:pt x="2303" y="4303"/>
                  </a:cubicBezTo>
                  <a:cubicBezTo>
                    <a:pt x="2293" y="4335"/>
                    <a:pt x="2236" y="4416"/>
                    <a:pt x="2175" y="4484"/>
                  </a:cubicBezTo>
                  <a:cubicBezTo>
                    <a:pt x="2095" y="4573"/>
                    <a:pt x="2064" y="4618"/>
                    <a:pt x="2064" y="4650"/>
                  </a:cubicBezTo>
                  <a:cubicBezTo>
                    <a:pt x="2064" y="4685"/>
                    <a:pt x="2052" y="4701"/>
                    <a:pt x="2005" y="4725"/>
                  </a:cubicBezTo>
                  <a:cubicBezTo>
                    <a:pt x="1972" y="4743"/>
                    <a:pt x="1940" y="4759"/>
                    <a:pt x="1935" y="4760"/>
                  </a:cubicBezTo>
                  <a:cubicBezTo>
                    <a:pt x="1928" y="4764"/>
                    <a:pt x="1920" y="4752"/>
                    <a:pt x="1917" y="4735"/>
                  </a:cubicBezTo>
                  <a:close/>
                </a:path>
              </a:pathLst>
            </a:custGeom>
            <a:solidFill>
              <a:srgbClr val="153255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67" name="Кабардино-Балкарская республика">
              <a:extLst>
                <a:ext uri="{FF2B5EF4-FFF2-40B4-BE49-F238E27FC236}">
                  <a16:creationId xmlns="" xmlns:a16="http://schemas.microsoft.com/office/drawing/2014/main" id="{00000000-0008-0000-0300-00004A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5295" y="7714336"/>
              <a:ext cx="341123" cy="202734"/>
            </a:xfrm>
            <a:custGeom>
              <a:avLst/>
              <a:gdLst/>
              <a:ahLst/>
              <a:cxnLst>
                <a:cxn ang="0">
                  <a:pos x="93" y="251"/>
                </a:cxn>
                <a:cxn ang="0">
                  <a:pos x="32" y="117"/>
                </a:cxn>
                <a:cxn ang="0">
                  <a:pos x="0" y="82"/>
                </a:cxn>
                <a:cxn ang="0">
                  <a:pos x="80" y="42"/>
                </a:cxn>
                <a:cxn ang="0">
                  <a:pos x="160" y="0"/>
                </a:cxn>
                <a:cxn ang="0">
                  <a:pos x="246" y="48"/>
                </a:cxn>
                <a:cxn ang="0">
                  <a:pos x="438" y="152"/>
                </a:cxn>
                <a:cxn ang="0">
                  <a:pos x="545" y="208"/>
                </a:cxn>
                <a:cxn ang="0">
                  <a:pos x="513" y="263"/>
                </a:cxn>
                <a:cxn ang="0">
                  <a:pos x="389" y="307"/>
                </a:cxn>
                <a:cxn ang="0">
                  <a:pos x="217" y="325"/>
                </a:cxn>
                <a:cxn ang="0">
                  <a:pos x="131" y="352"/>
                </a:cxn>
                <a:cxn ang="0">
                  <a:pos x="93" y="251"/>
                </a:cxn>
              </a:cxnLst>
              <a:rect l="0" t="0" r="r" b="b"/>
              <a:pathLst>
                <a:path w="545" h="352">
                  <a:moveTo>
                    <a:pt x="93" y="251"/>
                  </a:moveTo>
                  <a:cubicBezTo>
                    <a:pt x="77" y="197"/>
                    <a:pt x="51" y="136"/>
                    <a:pt x="32" y="117"/>
                  </a:cubicBezTo>
                  <a:lnTo>
                    <a:pt x="0" y="82"/>
                  </a:lnTo>
                  <a:lnTo>
                    <a:pt x="80" y="42"/>
                  </a:lnTo>
                  <a:lnTo>
                    <a:pt x="160" y="0"/>
                  </a:lnTo>
                  <a:lnTo>
                    <a:pt x="246" y="48"/>
                  </a:lnTo>
                  <a:cubicBezTo>
                    <a:pt x="293" y="74"/>
                    <a:pt x="379" y="120"/>
                    <a:pt x="438" y="152"/>
                  </a:cubicBezTo>
                  <a:lnTo>
                    <a:pt x="545" y="208"/>
                  </a:lnTo>
                  <a:lnTo>
                    <a:pt x="513" y="263"/>
                  </a:lnTo>
                  <a:cubicBezTo>
                    <a:pt x="481" y="315"/>
                    <a:pt x="481" y="317"/>
                    <a:pt x="389" y="307"/>
                  </a:cubicBezTo>
                  <a:cubicBezTo>
                    <a:pt x="325" y="303"/>
                    <a:pt x="270" y="307"/>
                    <a:pt x="217" y="325"/>
                  </a:cubicBezTo>
                  <a:cubicBezTo>
                    <a:pt x="176" y="339"/>
                    <a:pt x="137" y="352"/>
                    <a:pt x="131" y="352"/>
                  </a:cubicBezTo>
                  <a:cubicBezTo>
                    <a:pt x="125" y="352"/>
                    <a:pt x="109" y="307"/>
                    <a:pt x="93" y="251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68" name="Калининградская область">
              <a:extLst>
                <a:ext uri="{FF2B5EF4-FFF2-40B4-BE49-F238E27FC236}">
                  <a16:creationId xmlns="" xmlns:a16="http://schemas.microsoft.com/office/drawing/2014/main" id="{00000000-0008-0000-0300-00004B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073" y="3853178"/>
              <a:ext cx="300991" cy="267241"/>
            </a:xfrm>
            <a:custGeom>
              <a:avLst/>
              <a:gdLst>
                <a:gd name="T0" fmla="*/ 275 w 30"/>
                <a:gd name="T1" fmla="*/ 405 h 29"/>
                <a:gd name="T2" fmla="*/ 118 w 30"/>
                <a:gd name="T3" fmla="*/ 186 h 29"/>
                <a:gd name="T4" fmla="*/ 113 w 30"/>
                <a:gd name="T5" fmla="*/ 0 h 29"/>
                <a:gd name="T6" fmla="*/ 204 w 30"/>
                <a:gd name="T7" fmla="*/ 53 h 29"/>
                <a:gd name="T8" fmla="*/ 270 w 30"/>
                <a:gd name="T9" fmla="*/ 136 h 29"/>
                <a:gd name="T10" fmla="*/ 350 w 30"/>
                <a:gd name="T11" fmla="*/ 131 h 29"/>
                <a:gd name="T12" fmla="*/ 406 w 30"/>
                <a:gd name="T13" fmla="*/ 112 h 29"/>
                <a:gd name="T14" fmla="*/ 494 w 30"/>
                <a:gd name="T15" fmla="*/ 403 h 29"/>
                <a:gd name="T16" fmla="*/ 396 w 30"/>
                <a:gd name="T17" fmla="*/ 456 h 29"/>
                <a:gd name="T18" fmla="*/ 275 w 30"/>
                <a:gd name="T19" fmla="*/ 405 h 2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29"/>
                <a:gd name="T32" fmla="*/ 494 w 30"/>
                <a:gd name="T33" fmla="*/ 466 h 2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29">
                  <a:moveTo>
                    <a:pt x="17" y="25"/>
                  </a:moveTo>
                  <a:cubicBezTo>
                    <a:pt x="15" y="23"/>
                    <a:pt x="11" y="17"/>
                    <a:pt x="7" y="12"/>
                  </a:cubicBezTo>
                  <a:cubicBezTo>
                    <a:pt x="0" y="1"/>
                    <a:pt x="0" y="0"/>
                    <a:pt x="7" y="0"/>
                  </a:cubicBezTo>
                  <a:cubicBezTo>
                    <a:pt x="10" y="0"/>
                    <a:pt x="11" y="0"/>
                    <a:pt x="12" y="3"/>
                  </a:cubicBezTo>
                  <a:cubicBezTo>
                    <a:pt x="13" y="5"/>
                    <a:pt x="15" y="7"/>
                    <a:pt x="16" y="8"/>
                  </a:cubicBezTo>
                  <a:cubicBezTo>
                    <a:pt x="18" y="10"/>
                    <a:pt x="18" y="10"/>
                    <a:pt x="21" y="8"/>
                  </a:cubicBezTo>
                  <a:cubicBezTo>
                    <a:pt x="23" y="7"/>
                    <a:pt x="24" y="6"/>
                    <a:pt x="25" y="7"/>
                  </a:cubicBezTo>
                  <a:cubicBezTo>
                    <a:pt x="26" y="9"/>
                    <a:pt x="30" y="23"/>
                    <a:pt x="30" y="25"/>
                  </a:cubicBezTo>
                  <a:cubicBezTo>
                    <a:pt x="30" y="27"/>
                    <a:pt x="30" y="28"/>
                    <a:pt x="24" y="28"/>
                  </a:cubicBezTo>
                  <a:cubicBezTo>
                    <a:pt x="20" y="29"/>
                    <a:pt x="19" y="29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69" name="Калужская область">
              <a:extLst>
                <a:ext uri="{FF2B5EF4-FFF2-40B4-BE49-F238E27FC236}">
                  <a16:creationId xmlns="" xmlns:a16="http://schemas.microsoft.com/office/drawing/2014/main" id="{00000000-0008-0000-0300-00004C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7542" y="5217024"/>
              <a:ext cx="481586" cy="294885"/>
            </a:xfrm>
            <a:custGeom>
              <a:avLst/>
              <a:gdLst/>
              <a:ahLst/>
              <a:cxnLst>
                <a:cxn ang="0">
                  <a:pos x="78" y="465"/>
                </a:cxn>
                <a:cxn ang="0">
                  <a:pos x="8" y="389"/>
                </a:cxn>
                <a:cxn ang="0">
                  <a:pos x="65" y="270"/>
                </a:cxn>
                <a:cxn ang="0">
                  <a:pos x="105" y="110"/>
                </a:cxn>
                <a:cxn ang="0">
                  <a:pos x="123" y="8"/>
                </a:cxn>
                <a:cxn ang="0">
                  <a:pos x="195" y="37"/>
                </a:cxn>
                <a:cxn ang="0">
                  <a:pos x="389" y="69"/>
                </a:cxn>
                <a:cxn ang="0">
                  <a:pos x="579" y="54"/>
                </a:cxn>
                <a:cxn ang="0">
                  <a:pos x="646" y="94"/>
                </a:cxn>
                <a:cxn ang="0">
                  <a:pos x="697" y="142"/>
                </a:cxn>
                <a:cxn ang="0">
                  <a:pos x="771" y="267"/>
                </a:cxn>
                <a:cxn ang="0">
                  <a:pos x="721" y="368"/>
                </a:cxn>
                <a:cxn ang="0">
                  <a:pos x="528" y="389"/>
                </a:cxn>
                <a:cxn ang="0">
                  <a:pos x="454" y="363"/>
                </a:cxn>
                <a:cxn ang="0">
                  <a:pos x="350" y="429"/>
                </a:cxn>
                <a:cxn ang="0">
                  <a:pos x="78" y="465"/>
                </a:cxn>
              </a:cxnLst>
              <a:rect l="0" t="0" r="r" b="b"/>
              <a:pathLst>
                <a:path w="771" h="505">
                  <a:moveTo>
                    <a:pt x="78" y="465"/>
                  </a:moveTo>
                  <a:cubicBezTo>
                    <a:pt x="3" y="440"/>
                    <a:pt x="0" y="437"/>
                    <a:pt x="8" y="389"/>
                  </a:cubicBezTo>
                  <a:cubicBezTo>
                    <a:pt x="13" y="360"/>
                    <a:pt x="38" y="307"/>
                    <a:pt x="65" y="270"/>
                  </a:cubicBezTo>
                  <a:cubicBezTo>
                    <a:pt x="110" y="208"/>
                    <a:pt x="113" y="195"/>
                    <a:pt x="105" y="110"/>
                  </a:cubicBezTo>
                  <a:cubicBezTo>
                    <a:pt x="96" y="32"/>
                    <a:pt x="99" y="17"/>
                    <a:pt x="123" y="8"/>
                  </a:cubicBezTo>
                  <a:cubicBezTo>
                    <a:pt x="142" y="0"/>
                    <a:pt x="166" y="9"/>
                    <a:pt x="195" y="37"/>
                  </a:cubicBezTo>
                  <a:cubicBezTo>
                    <a:pt x="235" y="77"/>
                    <a:pt x="243" y="78"/>
                    <a:pt x="389" y="69"/>
                  </a:cubicBezTo>
                  <a:cubicBezTo>
                    <a:pt x="472" y="64"/>
                    <a:pt x="557" y="57"/>
                    <a:pt x="579" y="54"/>
                  </a:cubicBezTo>
                  <a:cubicBezTo>
                    <a:pt x="611" y="49"/>
                    <a:pt x="625" y="59"/>
                    <a:pt x="646" y="94"/>
                  </a:cubicBezTo>
                  <a:cubicBezTo>
                    <a:pt x="662" y="121"/>
                    <a:pt x="685" y="142"/>
                    <a:pt x="697" y="142"/>
                  </a:cubicBezTo>
                  <a:cubicBezTo>
                    <a:pt x="733" y="142"/>
                    <a:pt x="771" y="206"/>
                    <a:pt x="771" y="267"/>
                  </a:cubicBezTo>
                  <a:cubicBezTo>
                    <a:pt x="771" y="307"/>
                    <a:pt x="758" y="333"/>
                    <a:pt x="721" y="368"/>
                  </a:cubicBezTo>
                  <a:cubicBezTo>
                    <a:pt x="665" y="421"/>
                    <a:pt x="630" y="424"/>
                    <a:pt x="528" y="389"/>
                  </a:cubicBezTo>
                  <a:lnTo>
                    <a:pt x="454" y="363"/>
                  </a:lnTo>
                  <a:lnTo>
                    <a:pt x="350" y="429"/>
                  </a:lnTo>
                  <a:cubicBezTo>
                    <a:pt x="238" y="501"/>
                    <a:pt x="200" y="505"/>
                    <a:pt x="78" y="465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70" name="Карачаево-Черкесская республика">
              <a:extLst>
                <a:ext uri="{FF2B5EF4-FFF2-40B4-BE49-F238E27FC236}">
                  <a16:creationId xmlns="" xmlns:a16="http://schemas.microsoft.com/office/drawing/2014/main" id="{00000000-0008-0000-0300-00004D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4701" y="7493173"/>
              <a:ext cx="290958" cy="258025"/>
            </a:xfrm>
            <a:custGeom>
              <a:avLst/>
              <a:gdLst/>
              <a:ahLst/>
              <a:cxnLst>
                <a:cxn ang="0">
                  <a:pos x="227" y="416"/>
                </a:cxn>
                <a:cxn ang="0">
                  <a:pos x="11" y="73"/>
                </a:cxn>
                <a:cxn ang="0">
                  <a:pos x="96" y="33"/>
                </a:cxn>
                <a:cxn ang="0">
                  <a:pos x="174" y="0"/>
                </a:cxn>
                <a:cxn ang="0">
                  <a:pos x="224" y="59"/>
                </a:cxn>
                <a:cxn ang="0">
                  <a:pos x="275" y="118"/>
                </a:cxn>
                <a:cxn ang="0">
                  <a:pos x="328" y="91"/>
                </a:cxn>
                <a:cxn ang="0">
                  <a:pos x="443" y="110"/>
                </a:cxn>
                <a:cxn ang="0">
                  <a:pos x="443" y="171"/>
                </a:cxn>
                <a:cxn ang="0">
                  <a:pos x="443" y="260"/>
                </a:cxn>
                <a:cxn ang="0">
                  <a:pos x="469" y="334"/>
                </a:cxn>
                <a:cxn ang="0">
                  <a:pos x="421" y="353"/>
                </a:cxn>
                <a:cxn ang="0">
                  <a:pos x="320" y="411"/>
                </a:cxn>
                <a:cxn ang="0">
                  <a:pos x="227" y="416"/>
                </a:cxn>
              </a:cxnLst>
              <a:rect l="0" t="0" r="r" b="b"/>
              <a:pathLst>
                <a:path w="469" h="446">
                  <a:moveTo>
                    <a:pt x="227" y="416"/>
                  </a:moveTo>
                  <a:cubicBezTo>
                    <a:pt x="190" y="387"/>
                    <a:pt x="0" y="84"/>
                    <a:pt x="11" y="73"/>
                  </a:cubicBezTo>
                  <a:cubicBezTo>
                    <a:pt x="14" y="70"/>
                    <a:pt x="53" y="51"/>
                    <a:pt x="96" y="33"/>
                  </a:cubicBezTo>
                  <a:lnTo>
                    <a:pt x="174" y="0"/>
                  </a:lnTo>
                  <a:lnTo>
                    <a:pt x="224" y="59"/>
                  </a:lnTo>
                  <a:lnTo>
                    <a:pt x="275" y="118"/>
                  </a:lnTo>
                  <a:lnTo>
                    <a:pt x="328" y="91"/>
                  </a:lnTo>
                  <a:cubicBezTo>
                    <a:pt x="400" y="56"/>
                    <a:pt x="413" y="57"/>
                    <a:pt x="443" y="110"/>
                  </a:cubicBezTo>
                  <a:cubicBezTo>
                    <a:pt x="469" y="152"/>
                    <a:pt x="469" y="155"/>
                    <a:pt x="443" y="171"/>
                  </a:cubicBezTo>
                  <a:cubicBezTo>
                    <a:pt x="418" y="187"/>
                    <a:pt x="418" y="193"/>
                    <a:pt x="443" y="260"/>
                  </a:cubicBezTo>
                  <a:lnTo>
                    <a:pt x="469" y="334"/>
                  </a:lnTo>
                  <a:lnTo>
                    <a:pt x="421" y="353"/>
                  </a:lnTo>
                  <a:cubicBezTo>
                    <a:pt x="395" y="364"/>
                    <a:pt x="349" y="390"/>
                    <a:pt x="320" y="411"/>
                  </a:cubicBezTo>
                  <a:cubicBezTo>
                    <a:pt x="267" y="446"/>
                    <a:pt x="266" y="446"/>
                    <a:pt x="227" y="416"/>
                  </a:cubicBezTo>
                  <a:close/>
                </a:path>
              </a:pathLst>
            </a:custGeom>
            <a:solidFill>
              <a:srgbClr val="E1EFF6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71" name="Кемеровская область">
              <a:extLst>
                <a:ext uri="{FF2B5EF4-FFF2-40B4-BE49-F238E27FC236}">
                  <a16:creationId xmlns="" xmlns:a16="http://schemas.microsoft.com/office/drawing/2014/main" id="{00000000-0008-0000-0300-00004E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7698" y="7364160"/>
              <a:ext cx="581916" cy="912302"/>
            </a:xfrm>
            <a:custGeom>
              <a:avLst/>
              <a:gdLst/>
              <a:ahLst/>
              <a:cxnLst>
                <a:cxn ang="0">
                  <a:pos x="755" y="1544"/>
                </a:cxn>
                <a:cxn ang="0">
                  <a:pos x="546" y="1471"/>
                </a:cxn>
                <a:cxn ang="0">
                  <a:pos x="445" y="1394"/>
                </a:cxn>
                <a:cxn ang="0">
                  <a:pos x="435" y="1243"/>
                </a:cxn>
                <a:cxn ang="0">
                  <a:pos x="336" y="1035"/>
                </a:cxn>
                <a:cxn ang="0">
                  <a:pos x="152" y="823"/>
                </a:cxn>
                <a:cxn ang="0">
                  <a:pos x="69" y="725"/>
                </a:cxn>
                <a:cxn ang="0">
                  <a:pos x="45" y="527"/>
                </a:cxn>
                <a:cxn ang="0">
                  <a:pos x="10" y="255"/>
                </a:cxn>
                <a:cxn ang="0">
                  <a:pos x="0" y="181"/>
                </a:cxn>
                <a:cxn ang="0">
                  <a:pos x="120" y="155"/>
                </a:cxn>
                <a:cxn ang="0">
                  <a:pos x="325" y="79"/>
                </a:cxn>
                <a:cxn ang="0">
                  <a:pos x="592" y="15"/>
                </a:cxn>
                <a:cxn ang="0">
                  <a:pos x="779" y="3"/>
                </a:cxn>
                <a:cxn ang="0">
                  <a:pos x="931" y="256"/>
                </a:cxn>
                <a:cxn ang="0">
                  <a:pos x="872" y="355"/>
                </a:cxn>
                <a:cxn ang="0">
                  <a:pos x="781" y="471"/>
                </a:cxn>
                <a:cxn ang="0">
                  <a:pos x="789" y="599"/>
                </a:cxn>
                <a:cxn ang="0">
                  <a:pos x="826" y="669"/>
                </a:cxn>
                <a:cxn ang="0">
                  <a:pos x="791" y="755"/>
                </a:cxn>
                <a:cxn ang="0">
                  <a:pos x="755" y="863"/>
                </a:cxn>
                <a:cxn ang="0">
                  <a:pos x="858" y="851"/>
                </a:cxn>
                <a:cxn ang="0">
                  <a:pos x="879" y="879"/>
                </a:cxn>
                <a:cxn ang="0">
                  <a:pos x="895" y="968"/>
                </a:cxn>
                <a:cxn ang="0">
                  <a:pos x="875" y="1088"/>
                </a:cxn>
                <a:cxn ang="0">
                  <a:pos x="850" y="1245"/>
                </a:cxn>
                <a:cxn ang="0">
                  <a:pos x="835" y="1512"/>
                </a:cxn>
                <a:cxn ang="0">
                  <a:pos x="755" y="1544"/>
                </a:cxn>
              </a:cxnLst>
              <a:rect l="0" t="0" r="r" b="b"/>
              <a:pathLst>
                <a:path w="931" h="1581">
                  <a:moveTo>
                    <a:pt x="755" y="1544"/>
                  </a:moveTo>
                  <a:cubicBezTo>
                    <a:pt x="755" y="1520"/>
                    <a:pt x="720" y="1509"/>
                    <a:pt x="546" y="1471"/>
                  </a:cubicBezTo>
                  <a:cubicBezTo>
                    <a:pt x="459" y="1453"/>
                    <a:pt x="455" y="1448"/>
                    <a:pt x="445" y="1394"/>
                  </a:cubicBezTo>
                  <a:cubicBezTo>
                    <a:pt x="440" y="1362"/>
                    <a:pt x="435" y="1295"/>
                    <a:pt x="435" y="1243"/>
                  </a:cubicBezTo>
                  <a:cubicBezTo>
                    <a:pt x="435" y="1154"/>
                    <a:pt x="434" y="1149"/>
                    <a:pt x="336" y="1035"/>
                  </a:cubicBezTo>
                  <a:cubicBezTo>
                    <a:pt x="280" y="971"/>
                    <a:pt x="199" y="875"/>
                    <a:pt x="152" y="823"/>
                  </a:cubicBezTo>
                  <a:lnTo>
                    <a:pt x="69" y="725"/>
                  </a:lnTo>
                  <a:lnTo>
                    <a:pt x="45" y="527"/>
                  </a:lnTo>
                  <a:cubicBezTo>
                    <a:pt x="32" y="416"/>
                    <a:pt x="16" y="295"/>
                    <a:pt x="10" y="255"/>
                  </a:cubicBezTo>
                  <a:lnTo>
                    <a:pt x="0" y="181"/>
                  </a:lnTo>
                  <a:lnTo>
                    <a:pt x="120" y="155"/>
                  </a:lnTo>
                  <a:cubicBezTo>
                    <a:pt x="186" y="141"/>
                    <a:pt x="279" y="106"/>
                    <a:pt x="325" y="79"/>
                  </a:cubicBezTo>
                  <a:cubicBezTo>
                    <a:pt x="397" y="35"/>
                    <a:pt x="431" y="27"/>
                    <a:pt x="592" y="15"/>
                  </a:cubicBezTo>
                  <a:cubicBezTo>
                    <a:pt x="693" y="5"/>
                    <a:pt x="776" y="0"/>
                    <a:pt x="779" y="3"/>
                  </a:cubicBezTo>
                  <a:cubicBezTo>
                    <a:pt x="861" y="106"/>
                    <a:pt x="931" y="223"/>
                    <a:pt x="931" y="256"/>
                  </a:cubicBezTo>
                  <a:cubicBezTo>
                    <a:pt x="931" y="282"/>
                    <a:pt x="911" y="319"/>
                    <a:pt x="872" y="355"/>
                  </a:cubicBezTo>
                  <a:cubicBezTo>
                    <a:pt x="839" y="387"/>
                    <a:pt x="799" y="440"/>
                    <a:pt x="781" y="471"/>
                  </a:cubicBezTo>
                  <a:cubicBezTo>
                    <a:pt x="751" y="527"/>
                    <a:pt x="751" y="527"/>
                    <a:pt x="789" y="599"/>
                  </a:cubicBezTo>
                  <a:lnTo>
                    <a:pt x="826" y="669"/>
                  </a:lnTo>
                  <a:lnTo>
                    <a:pt x="791" y="755"/>
                  </a:lnTo>
                  <a:cubicBezTo>
                    <a:pt x="771" y="802"/>
                    <a:pt x="755" y="850"/>
                    <a:pt x="755" y="863"/>
                  </a:cubicBezTo>
                  <a:cubicBezTo>
                    <a:pt x="755" y="883"/>
                    <a:pt x="760" y="883"/>
                    <a:pt x="858" y="851"/>
                  </a:cubicBezTo>
                  <a:cubicBezTo>
                    <a:pt x="883" y="845"/>
                    <a:pt x="887" y="848"/>
                    <a:pt x="879" y="879"/>
                  </a:cubicBezTo>
                  <a:cubicBezTo>
                    <a:pt x="874" y="899"/>
                    <a:pt x="882" y="939"/>
                    <a:pt x="895" y="968"/>
                  </a:cubicBezTo>
                  <a:cubicBezTo>
                    <a:pt x="920" y="1021"/>
                    <a:pt x="920" y="1024"/>
                    <a:pt x="875" y="1088"/>
                  </a:cubicBezTo>
                  <a:cubicBezTo>
                    <a:pt x="831" y="1152"/>
                    <a:pt x="831" y="1157"/>
                    <a:pt x="850" y="1245"/>
                  </a:cubicBezTo>
                  <a:cubicBezTo>
                    <a:pt x="893" y="1443"/>
                    <a:pt x="893" y="1453"/>
                    <a:pt x="835" y="1512"/>
                  </a:cubicBezTo>
                  <a:cubicBezTo>
                    <a:pt x="776" y="1573"/>
                    <a:pt x="755" y="1581"/>
                    <a:pt x="755" y="1544"/>
                  </a:cubicBezTo>
                  <a:close/>
                </a:path>
              </a:pathLst>
            </a:custGeom>
            <a:solidFill>
              <a:srgbClr val="22528C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72" name="Кировская область">
              <a:extLst>
                <a:ext uri="{FF2B5EF4-FFF2-40B4-BE49-F238E27FC236}">
                  <a16:creationId xmlns="" xmlns:a16="http://schemas.microsoft.com/office/drawing/2014/main" id="{00000000-0008-0000-0300-00004F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3325" y="5170948"/>
              <a:ext cx="1053469" cy="1050530"/>
            </a:xfrm>
            <a:custGeom>
              <a:avLst/>
              <a:gdLst/>
              <a:ahLst/>
              <a:cxnLst>
                <a:cxn ang="0">
                  <a:pos x="567" y="1789"/>
                </a:cxn>
                <a:cxn ang="0">
                  <a:pos x="515" y="1522"/>
                </a:cxn>
                <a:cxn ang="0">
                  <a:pos x="451" y="1256"/>
                </a:cxn>
                <a:cxn ang="0">
                  <a:pos x="143" y="1183"/>
                </a:cxn>
                <a:cxn ang="0">
                  <a:pos x="75" y="1219"/>
                </a:cxn>
                <a:cxn ang="0">
                  <a:pos x="24" y="1247"/>
                </a:cxn>
                <a:cxn ang="0">
                  <a:pos x="8" y="1167"/>
                </a:cxn>
                <a:cxn ang="0">
                  <a:pos x="56" y="1035"/>
                </a:cxn>
                <a:cxn ang="0">
                  <a:pos x="139" y="983"/>
                </a:cxn>
                <a:cxn ang="0">
                  <a:pos x="202" y="1000"/>
                </a:cxn>
                <a:cxn ang="0">
                  <a:pos x="303" y="967"/>
                </a:cxn>
                <a:cxn ang="0">
                  <a:pos x="365" y="911"/>
                </a:cxn>
                <a:cxn ang="0">
                  <a:pos x="279" y="829"/>
                </a:cxn>
                <a:cxn ang="0">
                  <a:pos x="191" y="741"/>
                </a:cxn>
                <a:cxn ang="0">
                  <a:pos x="266" y="674"/>
                </a:cxn>
                <a:cxn ang="0">
                  <a:pos x="458" y="624"/>
                </a:cxn>
                <a:cxn ang="0">
                  <a:pos x="573" y="624"/>
                </a:cxn>
                <a:cxn ang="0">
                  <a:pos x="573" y="522"/>
                </a:cxn>
                <a:cxn ang="0">
                  <a:pos x="613" y="384"/>
                </a:cxn>
                <a:cxn ang="0">
                  <a:pos x="653" y="325"/>
                </a:cxn>
                <a:cxn ang="0">
                  <a:pos x="687" y="235"/>
                </a:cxn>
                <a:cxn ang="0">
                  <a:pos x="703" y="141"/>
                </a:cxn>
                <a:cxn ang="0">
                  <a:pos x="797" y="56"/>
                </a:cxn>
                <a:cxn ang="0">
                  <a:pos x="923" y="0"/>
                </a:cxn>
                <a:cxn ang="0">
                  <a:pos x="965" y="43"/>
                </a:cxn>
                <a:cxn ang="0">
                  <a:pos x="967" y="191"/>
                </a:cxn>
                <a:cxn ang="0">
                  <a:pos x="880" y="355"/>
                </a:cxn>
                <a:cxn ang="0">
                  <a:pos x="823" y="416"/>
                </a:cxn>
                <a:cxn ang="0">
                  <a:pos x="840" y="499"/>
                </a:cxn>
                <a:cxn ang="0">
                  <a:pos x="931" y="768"/>
                </a:cxn>
                <a:cxn ang="0">
                  <a:pos x="1035" y="696"/>
                </a:cxn>
                <a:cxn ang="0">
                  <a:pos x="1122" y="624"/>
                </a:cxn>
                <a:cxn ang="0">
                  <a:pos x="1245" y="656"/>
                </a:cxn>
                <a:cxn ang="0">
                  <a:pos x="1445" y="688"/>
                </a:cxn>
                <a:cxn ang="0">
                  <a:pos x="1605" y="779"/>
                </a:cxn>
                <a:cxn ang="0">
                  <a:pos x="1685" y="869"/>
                </a:cxn>
                <a:cxn ang="0">
                  <a:pos x="1573" y="971"/>
                </a:cxn>
                <a:cxn ang="0">
                  <a:pos x="1463" y="1074"/>
                </a:cxn>
                <a:cxn ang="0">
                  <a:pos x="1488" y="1144"/>
                </a:cxn>
                <a:cxn ang="0">
                  <a:pos x="1466" y="1279"/>
                </a:cxn>
                <a:cxn ang="0">
                  <a:pos x="1411" y="1344"/>
                </a:cxn>
                <a:cxn ang="0">
                  <a:pos x="1327" y="1304"/>
                </a:cxn>
                <a:cxn ang="0">
                  <a:pos x="1059" y="1218"/>
                </a:cxn>
                <a:cxn ang="0">
                  <a:pos x="975" y="1344"/>
                </a:cxn>
                <a:cxn ang="0">
                  <a:pos x="834" y="1459"/>
                </a:cxn>
                <a:cxn ang="0">
                  <a:pos x="757" y="1464"/>
                </a:cxn>
                <a:cxn ang="0">
                  <a:pos x="736" y="1563"/>
                </a:cxn>
                <a:cxn ang="0">
                  <a:pos x="685" y="1664"/>
                </a:cxn>
                <a:cxn ang="0">
                  <a:pos x="613" y="1747"/>
                </a:cxn>
                <a:cxn ang="0">
                  <a:pos x="567" y="1789"/>
                </a:cxn>
              </a:cxnLst>
              <a:rect l="0" t="0" r="r" b="b"/>
              <a:pathLst>
                <a:path w="1685" h="1819">
                  <a:moveTo>
                    <a:pt x="567" y="1789"/>
                  </a:moveTo>
                  <a:cubicBezTo>
                    <a:pt x="562" y="1778"/>
                    <a:pt x="539" y="1656"/>
                    <a:pt x="515" y="1522"/>
                  </a:cubicBezTo>
                  <a:cubicBezTo>
                    <a:pt x="490" y="1386"/>
                    <a:pt x="461" y="1266"/>
                    <a:pt x="451" y="1256"/>
                  </a:cubicBezTo>
                  <a:cubicBezTo>
                    <a:pt x="431" y="1235"/>
                    <a:pt x="179" y="1175"/>
                    <a:pt x="143" y="1183"/>
                  </a:cubicBezTo>
                  <a:cubicBezTo>
                    <a:pt x="130" y="1184"/>
                    <a:pt x="99" y="1202"/>
                    <a:pt x="75" y="1219"/>
                  </a:cubicBezTo>
                  <a:cubicBezTo>
                    <a:pt x="50" y="1239"/>
                    <a:pt x="27" y="1250"/>
                    <a:pt x="24" y="1247"/>
                  </a:cubicBezTo>
                  <a:cubicBezTo>
                    <a:pt x="21" y="1243"/>
                    <a:pt x="13" y="1207"/>
                    <a:pt x="8" y="1167"/>
                  </a:cubicBezTo>
                  <a:cubicBezTo>
                    <a:pt x="0" y="1101"/>
                    <a:pt x="3" y="1090"/>
                    <a:pt x="56" y="1035"/>
                  </a:cubicBezTo>
                  <a:cubicBezTo>
                    <a:pt x="90" y="999"/>
                    <a:pt x="122" y="978"/>
                    <a:pt x="139" y="983"/>
                  </a:cubicBezTo>
                  <a:cubicBezTo>
                    <a:pt x="154" y="986"/>
                    <a:pt x="183" y="994"/>
                    <a:pt x="202" y="1000"/>
                  </a:cubicBezTo>
                  <a:cubicBezTo>
                    <a:pt x="229" y="1008"/>
                    <a:pt x="258" y="999"/>
                    <a:pt x="303" y="967"/>
                  </a:cubicBezTo>
                  <a:cubicBezTo>
                    <a:pt x="336" y="943"/>
                    <a:pt x="365" y="917"/>
                    <a:pt x="365" y="911"/>
                  </a:cubicBezTo>
                  <a:cubicBezTo>
                    <a:pt x="365" y="903"/>
                    <a:pt x="327" y="866"/>
                    <a:pt x="279" y="829"/>
                  </a:cubicBezTo>
                  <a:cubicBezTo>
                    <a:pt x="231" y="791"/>
                    <a:pt x="191" y="752"/>
                    <a:pt x="191" y="741"/>
                  </a:cubicBezTo>
                  <a:cubicBezTo>
                    <a:pt x="189" y="731"/>
                    <a:pt x="224" y="701"/>
                    <a:pt x="266" y="674"/>
                  </a:cubicBezTo>
                  <a:cubicBezTo>
                    <a:pt x="335" y="629"/>
                    <a:pt x="357" y="624"/>
                    <a:pt x="458" y="624"/>
                  </a:cubicBezTo>
                  <a:lnTo>
                    <a:pt x="573" y="624"/>
                  </a:lnTo>
                  <a:lnTo>
                    <a:pt x="573" y="522"/>
                  </a:lnTo>
                  <a:cubicBezTo>
                    <a:pt x="573" y="435"/>
                    <a:pt x="579" y="416"/>
                    <a:pt x="613" y="384"/>
                  </a:cubicBezTo>
                  <a:cubicBezTo>
                    <a:pt x="635" y="363"/>
                    <a:pt x="653" y="336"/>
                    <a:pt x="653" y="325"/>
                  </a:cubicBezTo>
                  <a:cubicBezTo>
                    <a:pt x="653" y="312"/>
                    <a:pt x="669" y="272"/>
                    <a:pt x="687" y="235"/>
                  </a:cubicBezTo>
                  <a:cubicBezTo>
                    <a:pt x="714" y="184"/>
                    <a:pt x="717" y="163"/>
                    <a:pt x="703" y="141"/>
                  </a:cubicBezTo>
                  <a:cubicBezTo>
                    <a:pt x="687" y="115"/>
                    <a:pt x="698" y="106"/>
                    <a:pt x="797" y="56"/>
                  </a:cubicBezTo>
                  <a:cubicBezTo>
                    <a:pt x="858" y="26"/>
                    <a:pt x="915" y="0"/>
                    <a:pt x="923" y="0"/>
                  </a:cubicBezTo>
                  <a:cubicBezTo>
                    <a:pt x="931" y="0"/>
                    <a:pt x="951" y="19"/>
                    <a:pt x="965" y="43"/>
                  </a:cubicBezTo>
                  <a:cubicBezTo>
                    <a:pt x="992" y="83"/>
                    <a:pt x="992" y="91"/>
                    <a:pt x="967" y="191"/>
                  </a:cubicBezTo>
                  <a:cubicBezTo>
                    <a:pt x="946" y="267"/>
                    <a:pt x="923" y="312"/>
                    <a:pt x="880" y="355"/>
                  </a:cubicBezTo>
                  <a:lnTo>
                    <a:pt x="823" y="416"/>
                  </a:lnTo>
                  <a:lnTo>
                    <a:pt x="840" y="499"/>
                  </a:lnTo>
                  <a:cubicBezTo>
                    <a:pt x="872" y="655"/>
                    <a:pt x="911" y="768"/>
                    <a:pt x="931" y="768"/>
                  </a:cubicBezTo>
                  <a:cubicBezTo>
                    <a:pt x="943" y="768"/>
                    <a:pt x="989" y="735"/>
                    <a:pt x="1035" y="696"/>
                  </a:cubicBezTo>
                  <a:cubicBezTo>
                    <a:pt x="1082" y="656"/>
                    <a:pt x="1120" y="624"/>
                    <a:pt x="1122" y="624"/>
                  </a:cubicBezTo>
                  <a:cubicBezTo>
                    <a:pt x="1123" y="624"/>
                    <a:pt x="1179" y="639"/>
                    <a:pt x="1245" y="656"/>
                  </a:cubicBezTo>
                  <a:cubicBezTo>
                    <a:pt x="1311" y="674"/>
                    <a:pt x="1402" y="688"/>
                    <a:pt x="1445" y="688"/>
                  </a:cubicBezTo>
                  <a:cubicBezTo>
                    <a:pt x="1522" y="690"/>
                    <a:pt x="1528" y="693"/>
                    <a:pt x="1605" y="779"/>
                  </a:cubicBezTo>
                  <a:lnTo>
                    <a:pt x="1685" y="869"/>
                  </a:lnTo>
                  <a:lnTo>
                    <a:pt x="1573" y="971"/>
                  </a:lnTo>
                  <a:lnTo>
                    <a:pt x="1463" y="1074"/>
                  </a:lnTo>
                  <a:lnTo>
                    <a:pt x="1488" y="1144"/>
                  </a:lnTo>
                  <a:cubicBezTo>
                    <a:pt x="1514" y="1213"/>
                    <a:pt x="1514" y="1213"/>
                    <a:pt x="1466" y="1279"/>
                  </a:cubicBezTo>
                  <a:cubicBezTo>
                    <a:pt x="1440" y="1314"/>
                    <a:pt x="1415" y="1344"/>
                    <a:pt x="1411" y="1344"/>
                  </a:cubicBezTo>
                  <a:cubicBezTo>
                    <a:pt x="1407" y="1344"/>
                    <a:pt x="1370" y="1327"/>
                    <a:pt x="1327" y="1304"/>
                  </a:cubicBezTo>
                  <a:cubicBezTo>
                    <a:pt x="1187" y="1234"/>
                    <a:pt x="1082" y="1199"/>
                    <a:pt x="1059" y="1218"/>
                  </a:cubicBezTo>
                  <a:cubicBezTo>
                    <a:pt x="1048" y="1226"/>
                    <a:pt x="1010" y="1283"/>
                    <a:pt x="975" y="1344"/>
                  </a:cubicBezTo>
                  <a:cubicBezTo>
                    <a:pt x="909" y="1453"/>
                    <a:pt x="907" y="1455"/>
                    <a:pt x="834" y="1459"/>
                  </a:cubicBezTo>
                  <a:lnTo>
                    <a:pt x="757" y="1464"/>
                  </a:lnTo>
                  <a:lnTo>
                    <a:pt x="736" y="1563"/>
                  </a:lnTo>
                  <a:cubicBezTo>
                    <a:pt x="719" y="1642"/>
                    <a:pt x="707" y="1664"/>
                    <a:pt x="685" y="1664"/>
                  </a:cubicBezTo>
                  <a:cubicBezTo>
                    <a:pt x="650" y="1664"/>
                    <a:pt x="627" y="1690"/>
                    <a:pt x="613" y="1747"/>
                  </a:cubicBezTo>
                  <a:cubicBezTo>
                    <a:pt x="600" y="1799"/>
                    <a:pt x="576" y="1819"/>
                    <a:pt x="567" y="1789"/>
                  </a:cubicBezTo>
                  <a:close/>
                </a:path>
              </a:pathLst>
            </a:custGeom>
            <a:solidFill>
              <a:srgbClr val="5B93D7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73" name="Ивановская область">
              <a:extLst>
                <a:ext uri="{FF2B5EF4-FFF2-40B4-BE49-F238E27FC236}">
                  <a16:creationId xmlns="" xmlns:a16="http://schemas.microsoft.com/office/drawing/2014/main" id="{00000000-0008-0000-0300-000050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0880" y="5299961"/>
              <a:ext cx="491619" cy="313316"/>
            </a:xfrm>
            <a:custGeom>
              <a:avLst/>
              <a:gdLst>
                <a:gd name="T0" fmla="*/ 307 w 49"/>
                <a:gd name="T1" fmla="*/ 442 h 34"/>
                <a:gd name="T2" fmla="*/ 69 w 49"/>
                <a:gd name="T3" fmla="*/ 208 h 34"/>
                <a:gd name="T4" fmla="*/ 16 w 49"/>
                <a:gd name="T5" fmla="*/ 184 h 34"/>
                <a:gd name="T6" fmla="*/ 26 w 49"/>
                <a:gd name="T7" fmla="*/ 127 h 34"/>
                <a:gd name="T8" fmla="*/ 35 w 49"/>
                <a:gd name="T9" fmla="*/ 63 h 34"/>
                <a:gd name="T10" fmla="*/ 102 w 49"/>
                <a:gd name="T11" fmla="*/ 0 h 34"/>
                <a:gd name="T12" fmla="*/ 224 w 49"/>
                <a:gd name="T13" fmla="*/ 39 h 34"/>
                <a:gd name="T14" fmla="*/ 472 w 49"/>
                <a:gd name="T15" fmla="*/ 96 h 34"/>
                <a:gd name="T16" fmla="*/ 531 w 49"/>
                <a:gd name="T17" fmla="*/ 106 h 34"/>
                <a:gd name="T18" fmla="*/ 629 w 49"/>
                <a:gd name="T19" fmla="*/ 258 h 34"/>
                <a:gd name="T20" fmla="*/ 686 w 49"/>
                <a:gd name="T21" fmla="*/ 336 h 34"/>
                <a:gd name="T22" fmla="*/ 717 w 49"/>
                <a:gd name="T23" fmla="*/ 400 h 34"/>
                <a:gd name="T24" fmla="*/ 646 w 49"/>
                <a:gd name="T25" fmla="*/ 434 h 34"/>
                <a:gd name="T26" fmla="*/ 579 w 49"/>
                <a:gd name="T27" fmla="*/ 450 h 34"/>
                <a:gd name="T28" fmla="*/ 440 w 49"/>
                <a:gd name="T29" fmla="*/ 479 h 34"/>
                <a:gd name="T30" fmla="*/ 402 w 49"/>
                <a:gd name="T31" fmla="*/ 535 h 34"/>
                <a:gd name="T32" fmla="*/ 307 w 49"/>
                <a:gd name="T33" fmla="*/ 442 h 3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9"/>
                <a:gd name="T52" fmla="*/ 0 h 34"/>
                <a:gd name="T53" fmla="*/ 770 w 49"/>
                <a:gd name="T54" fmla="*/ 539 h 3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9" h="34">
                  <a:moveTo>
                    <a:pt x="20" y="28"/>
                  </a:moveTo>
                  <a:cubicBezTo>
                    <a:pt x="12" y="18"/>
                    <a:pt x="7" y="13"/>
                    <a:pt x="4" y="13"/>
                  </a:cubicBezTo>
                  <a:cubicBezTo>
                    <a:pt x="3" y="13"/>
                    <a:pt x="2" y="12"/>
                    <a:pt x="1" y="12"/>
                  </a:cubicBezTo>
                  <a:cubicBezTo>
                    <a:pt x="0" y="10"/>
                    <a:pt x="0" y="10"/>
                    <a:pt x="2" y="8"/>
                  </a:cubicBezTo>
                  <a:cubicBezTo>
                    <a:pt x="3" y="6"/>
                    <a:pt x="3" y="6"/>
                    <a:pt x="2" y="4"/>
                  </a:cubicBezTo>
                  <a:cubicBezTo>
                    <a:pt x="0" y="1"/>
                    <a:pt x="2" y="0"/>
                    <a:pt x="6" y="0"/>
                  </a:cubicBezTo>
                  <a:cubicBezTo>
                    <a:pt x="9" y="0"/>
                    <a:pt x="12" y="1"/>
                    <a:pt x="14" y="2"/>
                  </a:cubicBezTo>
                  <a:cubicBezTo>
                    <a:pt x="19" y="6"/>
                    <a:pt x="28" y="8"/>
                    <a:pt x="30" y="6"/>
                  </a:cubicBezTo>
                  <a:cubicBezTo>
                    <a:pt x="31" y="5"/>
                    <a:pt x="32" y="5"/>
                    <a:pt x="34" y="7"/>
                  </a:cubicBezTo>
                  <a:cubicBezTo>
                    <a:pt x="39" y="11"/>
                    <a:pt x="41" y="14"/>
                    <a:pt x="40" y="16"/>
                  </a:cubicBezTo>
                  <a:cubicBezTo>
                    <a:pt x="40" y="19"/>
                    <a:pt x="40" y="19"/>
                    <a:pt x="44" y="21"/>
                  </a:cubicBezTo>
                  <a:cubicBezTo>
                    <a:pt x="48" y="24"/>
                    <a:pt x="49" y="25"/>
                    <a:pt x="46" y="25"/>
                  </a:cubicBezTo>
                  <a:cubicBezTo>
                    <a:pt x="44" y="25"/>
                    <a:pt x="42" y="26"/>
                    <a:pt x="41" y="27"/>
                  </a:cubicBezTo>
                  <a:cubicBezTo>
                    <a:pt x="39" y="29"/>
                    <a:pt x="39" y="29"/>
                    <a:pt x="37" y="28"/>
                  </a:cubicBezTo>
                  <a:cubicBezTo>
                    <a:pt x="33" y="26"/>
                    <a:pt x="30" y="27"/>
                    <a:pt x="28" y="30"/>
                  </a:cubicBezTo>
                  <a:cubicBezTo>
                    <a:pt x="27" y="32"/>
                    <a:pt x="26" y="33"/>
                    <a:pt x="26" y="34"/>
                  </a:cubicBezTo>
                  <a:cubicBezTo>
                    <a:pt x="25" y="34"/>
                    <a:pt x="22" y="31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74" name="Краснодарский край">
              <a:extLst>
                <a:ext uri="{FF2B5EF4-FFF2-40B4-BE49-F238E27FC236}">
                  <a16:creationId xmlns="" xmlns:a16="http://schemas.microsoft.com/office/drawing/2014/main" id="{00000000-0008-0000-0300-0000510600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3974" y="6802034"/>
              <a:ext cx="642115" cy="727999"/>
            </a:xfrm>
            <a:custGeom>
              <a:avLst/>
              <a:gdLst/>
              <a:ahLst/>
              <a:cxnLst>
                <a:cxn ang="0">
                  <a:pos x="587" y="1208"/>
                </a:cxn>
                <a:cxn ang="0">
                  <a:pos x="525" y="1152"/>
                </a:cxn>
                <a:cxn ang="0">
                  <a:pos x="416" y="1197"/>
                </a:cxn>
                <a:cxn ang="0">
                  <a:pos x="312" y="1231"/>
                </a:cxn>
                <a:cxn ang="0">
                  <a:pos x="241" y="1202"/>
                </a:cxn>
                <a:cxn ang="0">
                  <a:pos x="163" y="925"/>
                </a:cxn>
                <a:cxn ang="0">
                  <a:pos x="113" y="645"/>
                </a:cxn>
                <a:cxn ang="0">
                  <a:pos x="9" y="269"/>
                </a:cxn>
                <a:cxn ang="0">
                  <a:pos x="30" y="192"/>
                </a:cxn>
                <a:cxn ang="0">
                  <a:pos x="88" y="240"/>
                </a:cxn>
                <a:cxn ang="0">
                  <a:pos x="237" y="237"/>
                </a:cxn>
                <a:cxn ang="0">
                  <a:pos x="409" y="197"/>
                </a:cxn>
                <a:cxn ang="0">
                  <a:pos x="550" y="87"/>
                </a:cxn>
                <a:cxn ang="0">
                  <a:pos x="686" y="24"/>
                </a:cxn>
                <a:cxn ang="0">
                  <a:pos x="729" y="77"/>
                </a:cxn>
                <a:cxn ang="0">
                  <a:pos x="809" y="160"/>
                </a:cxn>
                <a:cxn ang="0">
                  <a:pos x="878" y="181"/>
                </a:cxn>
                <a:cxn ang="0">
                  <a:pos x="923" y="352"/>
                </a:cxn>
                <a:cxn ang="0">
                  <a:pos x="896" y="432"/>
                </a:cxn>
                <a:cxn ang="0">
                  <a:pos x="955" y="520"/>
                </a:cxn>
                <a:cxn ang="0">
                  <a:pos x="1008" y="667"/>
                </a:cxn>
                <a:cxn ang="0">
                  <a:pos x="936" y="728"/>
                </a:cxn>
                <a:cxn ang="0">
                  <a:pos x="827" y="787"/>
                </a:cxn>
                <a:cxn ang="0">
                  <a:pos x="813" y="960"/>
                </a:cxn>
                <a:cxn ang="0">
                  <a:pos x="805" y="1051"/>
                </a:cxn>
                <a:cxn ang="0">
                  <a:pos x="750" y="1144"/>
                </a:cxn>
                <a:cxn ang="0">
                  <a:pos x="678" y="1237"/>
                </a:cxn>
                <a:cxn ang="0">
                  <a:pos x="630" y="1266"/>
                </a:cxn>
                <a:cxn ang="0">
                  <a:pos x="587" y="1208"/>
                </a:cxn>
                <a:cxn ang="0">
                  <a:pos x="451" y="1075"/>
                </a:cxn>
                <a:cxn ang="0">
                  <a:pos x="520" y="968"/>
                </a:cxn>
                <a:cxn ang="0">
                  <a:pos x="542" y="1019"/>
                </a:cxn>
                <a:cxn ang="0">
                  <a:pos x="633" y="1003"/>
                </a:cxn>
                <a:cxn ang="0">
                  <a:pos x="645" y="815"/>
                </a:cxn>
                <a:cxn ang="0">
                  <a:pos x="470" y="576"/>
                </a:cxn>
                <a:cxn ang="0">
                  <a:pos x="384" y="533"/>
                </a:cxn>
                <a:cxn ang="0">
                  <a:pos x="299" y="509"/>
                </a:cxn>
                <a:cxn ang="0">
                  <a:pos x="309" y="680"/>
                </a:cxn>
                <a:cxn ang="0">
                  <a:pos x="406" y="752"/>
                </a:cxn>
                <a:cxn ang="0">
                  <a:pos x="385" y="829"/>
                </a:cxn>
                <a:cxn ang="0">
                  <a:pos x="329" y="946"/>
                </a:cxn>
                <a:cxn ang="0">
                  <a:pos x="293" y="981"/>
                </a:cxn>
                <a:cxn ang="0">
                  <a:pos x="243" y="1016"/>
                </a:cxn>
                <a:cxn ang="0">
                  <a:pos x="355" y="1184"/>
                </a:cxn>
                <a:cxn ang="0">
                  <a:pos x="451" y="1075"/>
                </a:cxn>
              </a:cxnLst>
              <a:rect l="0" t="0" r="r" b="b"/>
              <a:pathLst>
                <a:path w="1013" h="1266">
                  <a:moveTo>
                    <a:pt x="587" y="1208"/>
                  </a:moveTo>
                  <a:cubicBezTo>
                    <a:pt x="563" y="1178"/>
                    <a:pt x="536" y="1152"/>
                    <a:pt x="525" y="1152"/>
                  </a:cubicBezTo>
                  <a:cubicBezTo>
                    <a:pt x="515" y="1152"/>
                    <a:pt x="465" y="1173"/>
                    <a:pt x="416" y="1197"/>
                  </a:cubicBezTo>
                  <a:cubicBezTo>
                    <a:pt x="365" y="1221"/>
                    <a:pt x="318" y="1237"/>
                    <a:pt x="312" y="1231"/>
                  </a:cubicBezTo>
                  <a:cubicBezTo>
                    <a:pt x="305" y="1224"/>
                    <a:pt x="273" y="1211"/>
                    <a:pt x="241" y="1202"/>
                  </a:cubicBezTo>
                  <a:cubicBezTo>
                    <a:pt x="173" y="1179"/>
                    <a:pt x="163" y="1147"/>
                    <a:pt x="163" y="925"/>
                  </a:cubicBezTo>
                  <a:cubicBezTo>
                    <a:pt x="163" y="811"/>
                    <a:pt x="155" y="762"/>
                    <a:pt x="113" y="645"/>
                  </a:cubicBezTo>
                  <a:cubicBezTo>
                    <a:pt x="49" y="463"/>
                    <a:pt x="22" y="365"/>
                    <a:pt x="9" y="269"/>
                  </a:cubicBezTo>
                  <a:cubicBezTo>
                    <a:pt x="0" y="200"/>
                    <a:pt x="3" y="192"/>
                    <a:pt x="30" y="192"/>
                  </a:cubicBezTo>
                  <a:cubicBezTo>
                    <a:pt x="46" y="192"/>
                    <a:pt x="73" y="213"/>
                    <a:pt x="88" y="240"/>
                  </a:cubicBezTo>
                  <a:cubicBezTo>
                    <a:pt x="125" y="301"/>
                    <a:pt x="149" y="299"/>
                    <a:pt x="237" y="237"/>
                  </a:cubicBezTo>
                  <a:cubicBezTo>
                    <a:pt x="302" y="189"/>
                    <a:pt x="312" y="187"/>
                    <a:pt x="409" y="197"/>
                  </a:cubicBezTo>
                  <a:cubicBezTo>
                    <a:pt x="531" y="208"/>
                    <a:pt x="544" y="199"/>
                    <a:pt x="550" y="87"/>
                  </a:cubicBezTo>
                  <a:cubicBezTo>
                    <a:pt x="555" y="0"/>
                    <a:pt x="550" y="3"/>
                    <a:pt x="686" y="24"/>
                  </a:cubicBezTo>
                  <a:cubicBezTo>
                    <a:pt x="733" y="32"/>
                    <a:pt x="737" y="37"/>
                    <a:pt x="729" y="77"/>
                  </a:cubicBezTo>
                  <a:cubicBezTo>
                    <a:pt x="717" y="138"/>
                    <a:pt x="758" y="179"/>
                    <a:pt x="809" y="160"/>
                  </a:cubicBezTo>
                  <a:cubicBezTo>
                    <a:pt x="840" y="149"/>
                    <a:pt x="854" y="154"/>
                    <a:pt x="878" y="181"/>
                  </a:cubicBezTo>
                  <a:cubicBezTo>
                    <a:pt x="952" y="266"/>
                    <a:pt x="952" y="266"/>
                    <a:pt x="923" y="352"/>
                  </a:cubicBezTo>
                  <a:lnTo>
                    <a:pt x="896" y="432"/>
                  </a:lnTo>
                  <a:lnTo>
                    <a:pt x="955" y="520"/>
                  </a:lnTo>
                  <a:cubicBezTo>
                    <a:pt x="1001" y="589"/>
                    <a:pt x="1013" y="621"/>
                    <a:pt x="1008" y="667"/>
                  </a:cubicBezTo>
                  <a:cubicBezTo>
                    <a:pt x="1003" y="727"/>
                    <a:pt x="1001" y="728"/>
                    <a:pt x="936" y="728"/>
                  </a:cubicBezTo>
                  <a:cubicBezTo>
                    <a:pt x="875" y="728"/>
                    <a:pt x="864" y="735"/>
                    <a:pt x="827" y="787"/>
                  </a:cubicBezTo>
                  <a:cubicBezTo>
                    <a:pt x="781" y="856"/>
                    <a:pt x="779" y="874"/>
                    <a:pt x="813" y="960"/>
                  </a:cubicBezTo>
                  <a:cubicBezTo>
                    <a:pt x="838" y="1021"/>
                    <a:pt x="837" y="1024"/>
                    <a:pt x="805" y="1051"/>
                  </a:cubicBezTo>
                  <a:cubicBezTo>
                    <a:pt x="787" y="1067"/>
                    <a:pt x="761" y="1109"/>
                    <a:pt x="750" y="1144"/>
                  </a:cubicBezTo>
                  <a:cubicBezTo>
                    <a:pt x="736" y="1184"/>
                    <a:pt x="710" y="1218"/>
                    <a:pt x="678" y="1237"/>
                  </a:cubicBezTo>
                  <a:lnTo>
                    <a:pt x="630" y="1266"/>
                  </a:lnTo>
                  <a:lnTo>
                    <a:pt x="587" y="1208"/>
                  </a:lnTo>
                  <a:close/>
                  <a:moveTo>
                    <a:pt x="451" y="1075"/>
                  </a:moveTo>
                  <a:lnTo>
                    <a:pt x="520" y="968"/>
                  </a:lnTo>
                  <a:lnTo>
                    <a:pt x="542" y="1019"/>
                  </a:lnTo>
                  <a:cubicBezTo>
                    <a:pt x="571" y="1090"/>
                    <a:pt x="601" y="1085"/>
                    <a:pt x="633" y="1003"/>
                  </a:cubicBezTo>
                  <a:cubicBezTo>
                    <a:pt x="654" y="946"/>
                    <a:pt x="656" y="914"/>
                    <a:pt x="645" y="815"/>
                  </a:cubicBezTo>
                  <a:cubicBezTo>
                    <a:pt x="619" y="618"/>
                    <a:pt x="589" y="576"/>
                    <a:pt x="470" y="576"/>
                  </a:cubicBezTo>
                  <a:cubicBezTo>
                    <a:pt x="448" y="576"/>
                    <a:pt x="409" y="557"/>
                    <a:pt x="384" y="533"/>
                  </a:cubicBezTo>
                  <a:cubicBezTo>
                    <a:pt x="345" y="496"/>
                    <a:pt x="334" y="493"/>
                    <a:pt x="299" y="509"/>
                  </a:cubicBezTo>
                  <a:cubicBezTo>
                    <a:pt x="245" y="535"/>
                    <a:pt x="248" y="599"/>
                    <a:pt x="309" y="680"/>
                  </a:cubicBezTo>
                  <a:cubicBezTo>
                    <a:pt x="342" y="723"/>
                    <a:pt x="373" y="746"/>
                    <a:pt x="406" y="752"/>
                  </a:cubicBezTo>
                  <a:cubicBezTo>
                    <a:pt x="483" y="763"/>
                    <a:pt x="477" y="792"/>
                    <a:pt x="385" y="829"/>
                  </a:cubicBezTo>
                  <a:cubicBezTo>
                    <a:pt x="302" y="864"/>
                    <a:pt x="299" y="871"/>
                    <a:pt x="329" y="946"/>
                  </a:cubicBezTo>
                  <a:cubicBezTo>
                    <a:pt x="339" y="965"/>
                    <a:pt x="329" y="973"/>
                    <a:pt x="293" y="981"/>
                  </a:cubicBezTo>
                  <a:cubicBezTo>
                    <a:pt x="262" y="987"/>
                    <a:pt x="243" y="1000"/>
                    <a:pt x="243" y="1016"/>
                  </a:cubicBezTo>
                  <a:cubicBezTo>
                    <a:pt x="243" y="1061"/>
                    <a:pt x="325" y="1184"/>
                    <a:pt x="355" y="1184"/>
                  </a:cubicBezTo>
                  <a:cubicBezTo>
                    <a:pt x="373" y="1184"/>
                    <a:pt x="409" y="1144"/>
                    <a:pt x="451" y="1075"/>
                  </a:cubicBezTo>
                  <a:close/>
                </a:path>
              </a:pathLst>
            </a:custGeom>
            <a:solidFill>
              <a:srgbClr val="1B3F6B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75" name="Красноярский край">
              <a:extLst>
                <a:ext uri="{FF2B5EF4-FFF2-40B4-BE49-F238E27FC236}">
                  <a16:creationId xmlns="" xmlns:a16="http://schemas.microsoft.com/office/drawing/2014/main" id="{00000000-0008-0000-0300-000052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17137" y="2719711"/>
              <a:ext cx="2698888" cy="5648903"/>
            </a:xfrm>
            <a:custGeom>
              <a:avLst/>
              <a:gdLst/>
              <a:ahLst/>
              <a:cxnLst>
                <a:cxn ang="0">
                  <a:pos x="3676" y="3299"/>
                </a:cxn>
                <a:cxn ang="0">
                  <a:pos x="3720" y="3933"/>
                </a:cxn>
                <a:cxn ang="0">
                  <a:pos x="3848" y="4425"/>
                </a:cxn>
                <a:cxn ang="0">
                  <a:pos x="3863" y="4819"/>
                </a:cxn>
                <a:cxn ang="0">
                  <a:pos x="4296" y="4950"/>
                </a:cxn>
                <a:cxn ang="0">
                  <a:pos x="4079" y="5301"/>
                </a:cxn>
                <a:cxn ang="0">
                  <a:pos x="4172" y="5640"/>
                </a:cxn>
                <a:cxn ang="0">
                  <a:pos x="3960" y="6288"/>
                </a:cxn>
                <a:cxn ang="0">
                  <a:pos x="4080" y="6725"/>
                </a:cxn>
                <a:cxn ang="0">
                  <a:pos x="4191" y="6934"/>
                </a:cxn>
                <a:cxn ang="0">
                  <a:pos x="3935" y="6941"/>
                </a:cxn>
                <a:cxn ang="0">
                  <a:pos x="3679" y="6979"/>
                </a:cxn>
                <a:cxn ang="0">
                  <a:pos x="3368" y="7510"/>
                </a:cxn>
                <a:cxn ang="0">
                  <a:pos x="3063" y="7541"/>
                </a:cxn>
                <a:cxn ang="0">
                  <a:pos x="2832" y="7798"/>
                </a:cxn>
                <a:cxn ang="0">
                  <a:pos x="2733" y="8309"/>
                </a:cxn>
                <a:cxn ang="0">
                  <a:pos x="2732" y="8755"/>
                </a:cxn>
                <a:cxn ang="0">
                  <a:pos x="2653" y="9022"/>
                </a:cxn>
                <a:cxn ang="0">
                  <a:pos x="2392" y="9249"/>
                </a:cxn>
                <a:cxn ang="0">
                  <a:pos x="2226" y="9541"/>
                </a:cxn>
                <a:cxn ang="0">
                  <a:pos x="1541" y="9729"/>
                </a:cxn>
                <a:cxn ang="0">
                  <a:pos x="1695" y="9457"/>
                </a:cxn>
                <a:cxn ang="0">
                  <a:pos x="1714" y="9001"/>
                </a:cxn>
                <a:cxn ang="0">
                  <a:pos x="1189" y="8593"/>
                </a:cxn>
                <a:cxn ang="0">
                  <a:pos x="1162" y="8158"/>
                </a:cxn>
                <a:cxn ang="0">
                  <a:pos x="1141" y="7920"/>
                </a:cxn>
                <a:cxn ang="0">
                  <a:pos x="1205" y="7560"/>
                </a:cxn>
                <a:cxn ang="0">
                  <a:pos x="1159" y="7142"/>
                </a:cxn>
                <a:cxn ang="0">
                  <a:pos x="596" y="6845"/>
                </a:cxn>
                <a:cxn ang="0">
                  <a:pos x="412" y="6491"/>
                </a:cxn>
                <a:cxn ang="0">
                  <a:pos x="471" y="6067"/>
                </a:cxn>
                <a:cxn ang="0">
                  <a:pos x="666" y="5461"/>
                </a:cxn>
                <a:cxn ang="0">
                  <a:pos x="536" y="4790"/>
                </a:cxn>
                <a:cxn ang="0">
                  <a:pos x="421" y="4616"/>
                </a:cxn>
                <a:cxn ang="0">
                  <a:pos x="288" y="4016"/>
                </a:cxn>
                <a:cxn ang="0">
                  <a:pos x="375" y="3414"/>
                </a:cxn>
                <a:cxn ang="0">
                  <a:pos x="71" y="3182"/>
                </a:cxn>
                <a:cxn ang="0">
                  <a:pos x="250" y="2736"/>
                </a:cxn>
                <a:cxn ang="0">
                  <a:pos x="210" y="2393"/>
                </a:cxn>
                <a:cxn ang="0">
                  <a:pos x="461" y="2435"/>
                </a:cxn>
                <a:cxn ang="0">
                  <a:pos x="452" y="2131"/>
                </a:cxn>
                <a:cxn ang="0">
                  <a:pos x="680" y="1678"/>
                </a:cxn>
                <a:cxn ang="0">
                  <a:pos x="1026" y="1416"/>
                </a:cxn>
                <a:cxn ang="0">
                  <a:pos x="1522" y="949"/>
                </a:cxn>
                <a:cxn ang="0">
                  <a:pos x="1952" y="757"/>
                </a:cxn>
                <a:cxn ang="0">
                  <a:pos x="2333" y="619"/>
                </a:cxn>
                <a:cxn ang="0">
                  <a:pos x="2444" y="299"/>
                </a:cxn>
                <a:cxn ang="0">
                  <a:pos x="2773" y="25"/>
                </a:cxn>
                <a:cxn ang="0">
                  <a:pos x="2919" y="264"/>
                </a:cxn>
                <a:cxn ang="0">
                  <a:pos x="3072" y="318"/>
                </a:cxn>
                <a:cxn ang="0">
                  <a:pos x="3546" y="329"/>
                </a:cxn>
                <a:cxn ang="0">
                  <a:pos x="3672" y="814"/>
                </a:cxn>
                <a:cxn ang="0">
                  <a:pos x="3223" y="1547"/>
                </a:cxn>
                <a:cxn ang="0">
                  <a:pos x="3503" y="1587"/>
                </a:cxn>
                <a:cxn ang="0">
                  <a:pos x="3796" y="1817"/>
                </a:cxn>
                <a:cxn ang="0">
                  <a:pos x="3880" y="2697"/>
                </a:cxn>
                <a:cxn ang="0">
                  <a:pos x="3460" y="3126"/>
                </a:cxn>
              </a:cxnLst>
              <a:rect l="0" t="0" r="r" b="b"/>
              <a:pathLst>
                <a:path w="4296" h="9808">
                  <a:moveTo>
                    <a:pt x="3460" y="3126"/>
                  </a:moveTo>
                  <a:cubicBezTo>
                    <a:pt x="3508" y="3139"/>
                    <a:pt x="3551" y="3169"/>
                    <a:pt x="3602" y="3222"/>
                  </a:cubicBezTo>
                  <a:lnTo>
                    <a:pt x="3676" y="3299"/>
                  </a:lnTo>
                  <a:lnTo>
                    <a:pt x="3725" y="3563"/>
                  </a:lnTo>
                  <a:cubicBezTo>
                    <a:pt x="3754" y="3707"/>
                    <a:pt x="3776" y="3835"/>
                    <a:pt x="3776" y="3846"/>
                  </a:cubicBezTo>
                  <a:cubicBezTo>
                    <a:pt x="3776" y="3856"/>
                    <a:pt x="3751" y="3896"/>
                    <a:pt x="3720" y="3933"/>
                  </a:cubicBezTo>
                  <a:cubicBezTo>
                    <a:pt x="3653" y="4016"/>
                    <a:pt x="3652" y="4038"/>
                    <a:pt x="3711" y="4081"/>
                  </a:cubicBezTo>
                  <a:cubicBezTo>
                    <a:pt x="3749" y="4110"/>
                    <a:pt x="3757" y="4129"/>
                    <a:pt x="3767" y="4216"/>
                  </a:cubicBezTo>
                  <a:cubicBezTo>
                    <a:pt x="3775" y="4299"/>
                    <a:pt x="3789" y="4336"/>
                    <a:pt x="3848" y="4425"/>
                  </a:cubicBezTo>
                  <a:cubicBezTo>
                    <a:pt x="3888" y="4485"/>
                    <a:pt x="3920" y="4544"/>
                    <a:pt x="3920" y="4558"/>
                  </a:cubicBezTo>
                  <a:cubicBezTo>
                    <a:pt x="3920" y="4573"/>
                    <a:pt x="3906" y="4613"/>
                    <a:pt x="3887" y="4649"/>
                  </a:cubicBezTo>
                  <a:cubicBezTo>
                    <a:pt x="3858" y="4705"/>
                    <a:pt x="3855" y="4734"/>
                    <a:pt x="3863" y="4819"/>
                  </a:cubicBezTo>
                  <a:cubicBezTo>
                    <a:pt x="3868" y="4877"/>
                    <a:pt x="3876" y="4926"/>
                    <a:pt x="3882" y="4933"/>
                  </a:cubicBezTo>
                  <a:cubicBezTo>
                    <a:pt x="3893" y="4944"/>
                    <a:pt x="3924" y="4945"/>
                    <a:pt x="4141" y="4947"/>
                  </a:cubicBezTo>
                  <a:lnTo>
                    <a:pt x="4296" y="4950"/>
                  </a:lnTo>
                  <a:lnTo>
                    <a:pt x="4202" y="5013"/>
                  </a:lnTo>
                  <a:cubicBezTo>
                    <a:pt x="4149" y="5048"/>
                    <a:pt x="4101" y="5086"/>
                    <a:pt x="4095" y="5097"/>
                  </a:cubicBezTo>
                  <a:cubicBezTo>
                    <a:pt x="4088" y="5109"/>
                    <a:pt x="4080" y="5200"/>
                    <a:pt x="4079" y="5301"/>
                  </a:cubicBezTo>
                  <a:lnTo>
                    <a:pt x="4076" y="5481"/>
                  </a:lnTo>
                  <a:lnTo>
                    <a:pt x="4128" y="5526"/>
                  </a:lnTo>
                  <a:cubicBezTo>
                    <a:pt x="4178" y="5566"/>
                    <a:pt x="4181" y="5574"/>
                    <a:pt x="4172" y="5640"/>
                  </a:cubicBezTo>
                  <a:cubicBezTo>
                    <a:pt x="4128" y="5929"/>
                    <a:pt x="4133" y="5910"/>
                    <a:pt x="4063" y="5984"/>
                  </a:cubicBezTo>
                  <a:cubicBezTo>
                    <a:pt x="4002" y="6046"/>
                    <a:pt x="3992" y="6064"/>
                    <a:pt x="3983" y="6153"/>
                  </a:cubicBezTo>
                  <a:cubicBezTo>
                    <a:pt x="3976" y="6209"/>
                    <a:pt x="3965" y="6269"/>
                    <a:pt x="3960" y="6288"/>
                  </a:cubicBezTo>
                  <a:cubicBezTo>
                    <a:pt x="3948" y="6331"/>
                    <a:pt x="4031" y="6430"/>
                    <a:pt x="4108" y="6462"/>
                  </a:cubicBezTo>
                  <a:cubicBezTo>
                    <a:pt x="4173" y="6489"/>
                    <a:pt x="4176" y="6531"/>
                    <a:pt x="4120" y="6637"/>
                  </a:cubicBezTo>
                  <a:cubicBezTo>
                    <a:pt x="4098" y="6678"/>
                    <a:pt x="4080" y="6718"/>
                    <a:pt x="4080" y="6725"/>
                  </a:cubicBezTo>
                  <a:cubicBezTo>
                    <a:pt x="4080" y="6733"/>
                    <a:pt x="4114" y="6758"/>
                    <a:pt x="4154" y="6782"/>
                  </a:cubicBezTo>
                  <a:cubicBezTo>
                    <a:pt x="4205" y="6813"/>
                    <a:pt x="4224" y="6832"/>
                    <a:pt x="4220" y="6851"/>
                  </a:cubicBezTo>
                  <a:cubicBezTo>
                    <a:pt x="4215" y="6865"/>
                    <a:pt x="4202" y="6902"/>
                    <a:pt x="4191" y="6934"/>
                  </a:cubicBezTo>
                  <a:cubicBezTo>
                    <a:pt x="4181" y="6965"/>
                    <a:pt x="4170" y="6998"/>
                    <a:pt x="4167" y="7009"/>
                  </a:cubicBezTo>
                  <a:cubicBezTo>
                    <a:pt x="4160" y="7033"/>
                    <a:pt x="4120" y="7033"/>
                    <a:pt x="4066" y="7013"/>
                  </a:cubicBezTo>
                  <a:cubicBezTo>
                    <a:pt x="4045" y="7003"/>
                    <a:pt x="3986" y="6971"/>
                    <a:pt x="3935" y="6941"/>
                  </a:cubicBezTo>
                  <a:cubicBezTo>
                    <a:pt x="3858" y="6894"/>
                    <a:pt x="3832" y="6886"/>
                    <a:pt x="3788" y="6894"/>
                  </a:cubicBezTo>
                  <a:cubicBezTo>
                    <a:pt x="3743" y="6902"/>
                    <a:pt x="3690" y="6913"/>
                    <a:pt x="3679" y="6928"/>
                  </a:cubicBezTo>
                  <a:cubicBezTo>
                    <a:pt x="3668" y="6942"/>
                    <a:pt x="3668" y="6957"/>
                    <a:pt x="3679" y="6979"/>
                  </a:cubicBezTo>
                  <a:cubicBezTo>
                    <a:pt x="3733" y="7078"/>
                    <a:pt x="3733" y="7080"/>
                    <a:pt x="3607" y="7270"/>
                  </a:cubicBezTo>
                  <a:cubicBezTo>
                    <a:pt x="3501" y="7432"/>
                    <a:pt x="3488" y="7461"/>
                    <a:pt x="3488" y="7529"/>
                  </a:cubicBezTo>
                  <a:cubicBezTo>
                    <a:pt x="3488" y="7633"/>
                    <a:pt x="3461" y="7629"/>
                    <a:pt x="3368" y="7510"/>
                  </a:cubicBezTo>
                  <a:cubicBezTo>
                    <a:pt x="3328" y="7457"/>
                    <a:pt x="3288" y="7414"/>
                    <a:pt x="3280" y="7414"/>
                  </a:cubicBezTo>
                  <a:cubicBezTo>
                    <a:pt x="3274" y="7414"/>
                    <a:pt x="3247" y="7440"/>
                    <a:pt x="3221" y="7472"/>
                  </a:cubicBezTo>
                  <a:cubicBezTo>
                    <a:pt x="3176" y="7526"/>
                    <a:pt x="3167" y="7531"/>
                    <a:pt x="3063" y="7541"/>
                  </a:cubicBezTo>
                  <a:lnTo>
                    <a:pt x="2952" y="7550"/>
                  </a:lnTo>
                  <a:lnTo>
                    <a:pt x="2893" y="7662"/>
                  </a:lnTo>
                  <a:cubicBezTo>
                    <a:pt x="2860" y="7723"/>
                    <a:pt x="2834" y="7785"/>
                    <a:pt x="2832" y="7798"/>
                  </a:cubicBezTo>
                  <a:cubicBezTo>
                    <a:pt x="2832" y="7811"/>
                    <a:pt x="2855" y="7880"/>
                    <a:pt x="2880" y="7949"/>
                  </a:cubicBezTo>
                  <a:cubicBezTo>
                    <a:pt x="2935" y="8089"/>
                    <a:pt x="2941" y="8072"/>
                    <a:pt x="2812" y="8221"/>
                  </a:cubicBezTo>
                  <a:lnTo>
                    <a:pt x="2733" y="8309"/>
                  </a:lnTo>
                  <a:lnTo>
                    <a:pt x="2757" y="8381"/>
                  </a:lnTo>
                  <a:cubicBezTo>
                    <a:pt x="2780" y="8446"/>
                    <a:pt x="2780" y="8469"/>
                    <a:pt x="2757" y="8605"/>
                  </a:cubicBezTo>
                  <a:lnTo>
                    <a:pt x="2732" y="8755"/>
                  </a:lnTo>
                  <a:lnTo>
                    <a:pt x="2647" y="8814"/>
                  </a:lnTo>
                  <a:cubicBezTo>
                    <a:pt x="2599" y="8848"/>
                    <a:pt x="2560" y="8885"/>
                    <a:pt x="2560" y="8897"/>
                  </a:cubicBezTo>
                  <a:cubicBezTo>
                    <a:pt x="2560" y="8910"/>
                    <a:pt x="2602" y="8966"/>
                    <a:pt x="2653" y="9022"/>
                  </a:cubicBezTo>
                  <a:cubicBezTo>
                    <a:pt x="2703" y="9080"/>
                    <a:pt x="2744" y="9131"/>
                    <a:pt x="2744" y="9136"/>
                  </a:cubicBezTo>
                  <a:cubicBezTo>
                    <a:pt x="2744" y="9142"/>
                    <a:pt x="2666" y="9169"/>
                    <a:pt x="2568" y="9198"/>
                  </a:cubicBezTo>
                  <a:lnTo>
                    <a:pt x="2392" y="9249"/>
                  </a:lnTo>
                  <a:lnTo>
                    <a:pt x="2378" y="9317"/>
                  </a:lnTo>
                  <a:cubicBezTo>
                    <a:pt x="2368" y="9360"/>
                    <a:pt x="2349" y="9393"/>
                    <a:pt x="2325" y="9409"/>
                  </a:cubicBezTo>
                  <a:cubicBezTo>
                    <a:pt x="2304" y="9422"/>
                    <a:pt x="2260" y="9481"/>
                    <a:pt x="2226" y="9541"/>
                  </a:cubicBezTo>
                  <a:cubicBezTo>
                    <a:pt x="2120" y="9720"/>
                    <a:pt x="2063" y="9761"/>
                    <a:pt x="1856" y="9805"/>
                  </a:cubicBezTo>
                  <a:cubicBezTo>
                    <a:pt x="1844" y="9808"/>
                    <a:pt x="1776" y="9801"/>
                    <a:pt x="1709" y="9792"/>
                  </a:cubicBezTo>
                  <a:cubicBezTo>
                    <a:pt x="1607" y="9777"/>
                    <a:pt x="1576" y="9766"/>
                    <a:pt x="1541" y="9729"/>
                  </a:cubicBezTo>
                  <a:lnTo>
                    <a:pt x="1496" y="9685"/>
                  </a:lnTo>
                  <a:lnTo>
                    <a:pt x="1588" y="9601"/>
                  </a:lnTo>
                  <a:cubicBezTo>
                    <a:pt x="1652" y="9544"/>
                    <a:pt x="1684" y="9499"/>
                    <a:pt x="1695" y="9457"/>
                  </a:cubicBezTo>
                  <a:cubicBezTo>
                    <a:pt x="1703" y="9425"/>
                    <a:pt x="1736" y="9368"/>
                    <a:pt x="1767" y="9331"/>
                  </a:cubicBezTo>
                  <a:cubicBezTo>
                    <a:pt x="1799" y="9294"/>
                    <a:pt x="1824" y="9254"/>
                    <a:pt x="1824" y="9241"/>
                  </a:cubicBezTo>
                  <a:cubicBezTo>
                    <a:pt x="1824" y="9230"/>
                    <a:pt x="1775" y="9121"/>
                    <a:pt x="1714" y="9001"/>
                  </a:cubicBezTo>
                  <a:cubicBezTo>
                    <a:pt x="1655" y="8880"/>
                    <a:pt x="1599" y="8752"/>
                    <a:pt x="1594" y="8715"/>
                  </a:cubicBezTo>
                  <a:cubicBezTo>
                    <a:pt x="1573" y="8600"/>
                    <a:pt x="1562" y="8593"/>
                    <a:pt x="1428" y="8621"/>
                  </a:cubicBezTo>
                  <a:cubicBezTo>
                    <a:pt x="1256" y="8657"/>
                    <a:pt x="1231" y="8654"/>
                    <a:pt x="1189" y="8593"/>
                  </a:cubicBezTo>
                  <a:cubicBezTo>
                    <a:pt x="1133" y="8510"/>
                    <a:pt x="1132" y="8496"/>
                    <a:pt x="1184" y="8446"/>
                  </a:cubicBezTo>
                  <a:cubicBezTo>
                    <a:pt x="1224" y="8408"/>
                    <a:pt x="1232" y="8387"/>
                    <a:pt x="1232" y="8329"/>
                  </a:cubicBezTo>
                  <a:cubicBezTo>
                    <a:pt x="1232" y="8272"/>
                    <a:pt x="1220" y="8240"/>
                    <a:pt x="1162" y="8158"/>
                  </a:cubicBezTo>
                  <a:lnTo>
                    <a:pt x="1092" y="8057"/>
                  </a:lnTo>
                  <a:lnTo>
                    <a:pt x="1120" y="8013"/>
                  </a:lnTo>
                  <a:cubicBezTo>
                    <a:pt x="1140" y="7984"/>
                    <a:pt x="1148" y="7952"/>
                    <a:pt x="1141" y="7920"/>
                  </a:cubicBezTo>
                  <a:cubicBezTo>
                    <a:pt x="1135" y="7878"/>
                    <a:pt x="1146" y="7854"/>
                    <a:pt x="1199" y="7787"/>
                  </a:cubicBezTo>
                  <a:cubicBezTo>
                    <a:pt x="1252" y="7721"/>
                    <a:pt x="1264" y="7693"/>
                    <a:pt x="1264" y="7640"/>
                  </a:cubicBezTo>
                  <a:cubicBezTo>
                    <a:pt x="1264" y="7579"/>
                    <a:pt x="1261" y="7574"/>
                    <a:pt x="1205" y="7560"/>
                  </a:cubicBezTo>
                  <a:cubicBezTo>
                    <a:pt x="991" y="7504"/>
                    <a:pt x="1008" y="7513"/>
                    <a:pt x="1008" y="7449"/>
                  </a:cubicBezTo>
                  <a:cubicBezTo>
                    <a:pt x="1008" y="7376"/>
                    <a:pt x="1015" y="7368"/>
                    <a:pt x="1109" y="7304"/>
                  </a:cubicBezTo>
                  <a:cubicBezTo>
                    <a:pt x="1192" y="7246"/>
                    <a:pt x="1196" y="7235"/>
                    <a:pt x="1159" y="7142"/>
                  </a:cubicBezTo>
                  <a:cubicBezTo>
                    <a:pt x="1135" y="7081"/>
                    <a:pt x="1130" y="7078"/>
                    <a:pt x="1064" y="7078"/>
                  </a:cubicBezTo>
                  <a:cubicBezTo>
                    <a:pt x="999" y="7078"/>
                    <a:pt x="991" y="7072"/>
                    <a:pt x="912" y="6974"/>
                  </a:cubicBezTo>
                  <a:cubicBezTo>
                    <a:pt x="820" y="6861"/>
                    <a:pt x="820" y="6861"/>
                    <a:pt x="596" y="6845"/>
                  </a:cubicBezTo>
                  <a:cubicBezTo>
                    <a:pt x="415" y="6832"/>
                    <a:pt x="383" y="6811"/>
                    <a:pt x="431" y="6737"/>
                  </a:cubicBezTo>
                  <a:cubicBezTo>
                    <a:pt x="461" y="6689"/>
                    <a:pt x="461" y="6688"/>
                    <a:pt x="426" y="6593"/>
                  </a:cubicBezTo>
                  <a:cubicBezTo>
                    <a:pt x="402" y="6525"/>
                    <a:pt x="397" y="6496"/>
                    <a:pt x="412" y="6491"/>
                  </a:cubicBezTo>
                  <a:cubicBezTo>
                    <a:pt x="440" y="6480"/>
                    <a:pt x="679" y="6307"/>
                    <a:pt x="692" y="6288"/>
                  </a:cubicBezTo>
                  <a:cubicBezTo>
                    <a:pt x="712" y="6257"/>
                    <a:pt x="706" y="6249"/>
                    <a:pt x="602" y="6189"/>
                  </a:cubicBezTo>
                  <a:cubicBezTo>
                    <a:pt x="525" y="6144"/>
                    <a:pt x="492" y="6113"/>
                    <a:pt x="471" y="6067"/>
                  </a:cubicBezTo>
                  <a:cubicBezTo>
                    <a:pt x="439" y="5997"/>
                    <a:pt x="442" y="5992"/>
                    <a:pt x="584" y="5838"/>
                  </a:cubicBezTo>
                  <a:cubicBezTo>
                    <a:pt x="680" y="5734"/>
                    <a:pt x="685" y="5713"/>
                    <a:pt x="647" y="5600"/>
                  </a:cubicBezTo>
                  <a:cubicBezTo>
                    <a:pt x="621" y="5525"/>
                    <a:pt x="621" y="5525"/>
                    <a:pt x="666" y="5461"/>
                  </a:cubicBezTo>
                  <a:cubicBezTo>
                    <a:pt x="744" y="5352"/>
                    <a:pt x="752" y="5329"/>
                    <a:pt x="752" y="5203"/>
                  </a:cubicBezTo>
                  <a:cubicBezTo>
                    <a:pt x="752" y="5057"/>
                    <a:pt x="733" y="5027"/>
                    <a:pt x="621" y="4998"/>
                  </a:cubicBezTo>
                  <a:cubicBezTo>
                    <a:pt x="536" y="4976"/>
                    <a:pt x="544" y="4995"/>
                    <a:pt x="536" y="4790"/>
                  </a:cubicBezTo>
                  <a:cubicBezTo>
                    <a:pt x="535" y="4741"/>
                    <a:pt x="532" y="4693"/>
                    <a:pt x="530" y="4681"/>
                  </a:cubicBezTo>
                  <a:cubicBezTo>
                    <a:pt x="530" y="4670"/>
                    <a:pt x="504" y="4649"/>
                    <a:pt x="474" y="4638"/>
                  </a:cubicBezTo>
                  <a:lnTo>
                    <a:pt x="421" y="4616"/>
                  </a:lnTo>
                  <a:lnTo>
                    <a:pt x="410" y="4453"/>
                  </a:lnTo>
                  <a:cubicBezTo>
                    <a:pt x="399" y="4315"/>
                    <a:pt x="391" y="4278"/>
                    <a:pt x="352" y="4214"/>
                  </a:cubicBezTo>
                  <a:cubicBezTo>
                    <a:pt x="324" y="4165"/>
                    <a:pt x="301" y="4094"/>
                    <a:pt x="288" y="4016"/>
                  </a:cubicBezTo>
                  <a:cubicBezTo>
                    <a:pt x="272" y="3907"/>
                    <a:pt x="274" y="3891"/>
                    <a:pt x="303" y="3835"/>
                  </a:cubicBezTo>
                  <a:cubicBezTo>
                    <a:pt x="332" y="3779"/>
                    <a:pt x="399" y="3677"/>
                    <a:pt x="415" y="3630"/>
                  </a:cubicBezTo>
                  <a:cubicBezTo>
                    <a:pt x="431" y="3584"/>
                    <a:pt x="426" y="3560"/>
                    <a:pt x="375" y="3414"/>
                  </a:cubicBezTo>
                  <a:lnTo>
                    <a:pt x="316" y="3251"/>
                  </a:lnTo>
                  <a:lnTo>
                    <a:pt x="258" y="3262"/>
                  </a:lnTo>
                  <a:cubicBezTo>
                    <a:pt x="144" y="3283"/>
                    <a:pt x="141" y="3281"/>
                    <a:pt x="71" y="3182"/>
                  </a:cubicBezTo>
                  <a:cubicBezTo>
                    <a:pt x="32" y="3129"/>
                    <a:pt x="2" y="3081"/>
                    <a:pt x="0" y="3075"/>
                  </a:cubicBezTo>
                  <a:cubicBezTo>
                    <a:pt x="0" y="3069"/>
                    <a:pt x="44" y="3033"/>
                    <a:pt x="96" y="2995"/>
                  </a:cubicBezTo>
                  <a:cubicBezTo>
                    <a:pt x="197" y="2921"/>
                    <a:pt x="234" y="2861"/>
                    <a:pt x="250" y="2736"/>
                  </a:cubicBezTo>
                  <a:cubicBezTo>
                    <a:pt x="260" y="2675"/>
                    <a:pt x="253" y="2662"/>
                    <a:pt x="194" y="2590"/>
                  </a:cubicBezTo>
                  <a:cubicBezTo>
                    <a:pt x="159" y="2545"/>
                    <a:pt x="128" y="2502"/>
                    <a:pt x="128" y="2494"/>
                  </a:cubicBezTo>
                  <a:cubicBezTo>
                    <a:pt x="128" y="2485"/>
                    <a:pt x="165" y="2440"/>
                    <a:pt x="210" y="2393"/>
                  </a:cubicBezTo>
                  <a:lnTo>
                    <a:pt x="292" y="2309"/>
                  </a:lnTo>
                  <a:lnTo>
                    <a:pt x="317" y="2344"/>
                  </a:lnTo>
                  <a:cubicBezTo>
                    <a:pt x="372" y="2421"/>
                    <a:pt x="400" y="2440"/>
                    <a:pt x="461" y="2435"/>
                  </a:cubicBezTo>
                  <a:lnTo>
                    <a:pt x="520" y="2430"/>
                  </a:lnTo>
                  <a:lnTo>
                    <a:pt x="525" y="2331"/>
                  </a:lnTo>
                  <a:cubicBezTo>
                    <a:pt x="530" y="2237"/>
                    <a:pt x="528" y="2230"/>
                    <a:pt x="452" y="2131"/>
                  </a:cubicBezTo>
                  <a:cubicBezTo>
                    <a:pt x="410" y="2075"/>
                    <a:pt x="370" y="2017"/>
                    <a:pt x="364" y="2001"/>
                  </a:cubicBezTo>
                  <a:cubicBezTo>
                    <a:pt x="352" y="1971"/>
                    <a:pt x="381" y="1734"/>
                    <a:pt x="399" y="1715"/>
                  </a:cubicBezTo>
                  <a:cubicBezTo>
                    <a:pt x="404" y="1709"/>
                    <a:pt x="532" y="1693"/>
                    <a:pt x="680" y="1678"/>
                  </a:cubicBezTo>
                  <a:cubicBezTo>
                    <a:pt x="1071" y="1641"/>
                    <a:pt x="1088" y="1638"/>
                    <a:pt x="1100" y="1611"/>
                  </a:cubicBezTo>
                  <a:cubicBezTo>
                    <a:pt x="1104" y="1597"/>
                    <a:pt x="1090" y="1549"/>
                    <a:pt x="1068" y="1501"/>
                  </a:cubicBezTo>
                  <a:lnTo>
                    <a:pt x="1026" y="1416"/>
                  </a:lnTo>
                  <a:lnTo>
                    <a:pt x="1093" y="1317"/>
                  </a:lnTo>
                  <a:cubicBezTo>
                    <a:pt x="1130" y="1261"/>
                    <a:pt x="1197" y="1174"/>
                    <a:pt x="1244" y="1125"/>
                  </a:cubicBezTo>
                  <a:cubicBezTo>
                    <a:pt x="1316" y="1048"/>
                    <a:pt x="1354" y="1024"/>
                    <a:pt x="1522" y="949"/>
                  </a:cubicBezTo>
                  <a:cubicBezTo>
                    <a:pt x="1661" y="886"/>
                    <a:pt x="1722" y="851"/>
                    <a:pt x="1733" y="824"/>
                  </a:cubicBezTo>
                  <a:cubicBezTo>
                    <a:pt x="1749" y="792"/>
                    <a:pt x="1880" y="710"/>
                    <a:pt x="1919" y="710"/>
                  </a:cubicBezTo>
                  <a:cubicBezTo>
                    <a:pt x="1927" y="710"/>
                    <a:pt x="1941" y="731"/>
                    <a:pt x="1952" y="757"/>
                  </a:cubicBezTo>
                  <a:cubicBezTo>
                    <a:pt x="1988" y="843"/>
                    <a:pt x="1999" y="843"/>
                    <a:pt x="2175" y="758"/>
                  </a:cubicBezTo>
                  <a:lnTo>
                    <a:pt x="2338" y="678"/>
                  </a:lnTo>
                  <a:lnTo>
                    <a:pt x="2333" y="619"/>
                  </a:lnTo>
                  <a:cubicBezTo>
                    <a:pt x="2328" y="565"/>
                    <a:pt x="2332" y="560"/>
                    <a:pt x="2384" y="545"/>
                  </a:cubicBezTo>
                  <a:cubicBezTo>
                    <a:pt x="2477" y="521"/>
                    <a:pt x="2485" y="505"/>
                    <a:pt x="2463" y="395"/>
                  </a:cubicBezTo>
                  <a:lnTo>
                    <a:pt x="2444" y="299"/>
                  </a:lnTo>
                  <a:lnTo>
                    <a:pt x="2522" y="174"/>
                  </a:lnTo>
                  <a:cubicBezTo>
                    <a:pt x="2565" y="105"/>
                    <a:pt x="2615" y="40"/>
                    <a:pt x="2632" y="29"/>
                  </a:cubicBezTo>
                  <a:cubicBezTo>
                    <a:pt x="2671" y="0"/>
                    <a:pt x="2738" y="0"/>
                    <a:pt x="2773" y="25"/>
                  </a:cubicBezTo>
                  <a:cubicBezTo>
                    <a:pt x="2797" y="45"/>
                    <a:pt x="2794" y="53"/>
                    <a:pt x="2735" y="121"/>
                  </a:cubicBezTo>
                  <a:cubicBezTo>
                    <a:pt x="2644" y="229"/>
                    <a:pt x="2656" y="253"/>
                    <a:pt x="2799" y="238"/>
                  </a:cubicBezTo>
                  <a:cubicBezTo>
                    <a:pt x="2904" y="227"/>
                    <a:pt x="2909" y="229"/>
                    <a:pt x="2919" y="264"/>
                  </a:cubicBezTo>
                  <a:cubicBezTo>
                    <a:pt x="2924" y="285"/>
                    <a:pt x="2928" y="317"/>
                    <a:pt x="2928" y="336"/>
                  </a:cubicBezTo>
                  <a:cubicBezTo>
                    <a:pt x="2928" y="365"/>
                    <a:pt x="2956" y="390"/>
                    <a:pt x="2986" y="390"/>
                  </a:cubicBezTo>
                  <a:cubicBezTo>
                    <a:pt x="2989" y="390"/>
                    <a:pt x="3028" y="357"/>
                    <a:pt x="3072" y="318"/>
                  </a:cubicBezTo>
                  <a:lnTo>
                    <a:pt x="3154" y="246"/>
                  </a:lnTo>
                  <a:lnTo>
                    <a:pt x="3442" y="246"/>
                  </a:lnTo>
                  <a:lnTo>
                    <a:pt x="3546" y="329"/>
                  </a:lnTo>
                  <a:cubicBezTo>
                    <a:pt x="3605" y="376"/>
                    <a:pt x="3655" y="430"/>
                    <a:pt x="3660" y="453"/>
                  </a:cubicBezTo>
                  <a:cubicBezTo>
                    <a:pt x="3666" y="475"/>
                    <a:pt x="3671" y="566"/>
                    <a:pt x="3672" y="654"/>
                  </a:cubicBezTo>
                  <a:lnTo>
                    <a:pt x="3672" y="814"/>
                  </a:lnTo>
                  <a:lnTo>
                    <a:pt x="3567" y="974"/>
                  </a:lnTo>
                  <a:cubicBezTo>
                    <a:pt x="3509" y="1062"/>
                    <a:pt x="3424" y="1201"/>
                    <a:pt x="3378" y="1283"/>
                  </a:cubicBezTo>
                  <a:cubicBezTo>
                    <a:pt x="3332" y="1366"/>
                    <a:pt x="3263" y="1485"/>
                    <a:pt x="3223" y="1547"/>
                  </a:cubicBezTo>
                  <a:cubicBezTo>
                    <a:pt x="3154" y="1659"/>
                    <a:pt x="3138" y="1707"/>
                    <a:pt x="3167" y="1725"/>
                  </a:cubicBezTo>
                  <a:cubicBezTo>
                    <a:pt x="3176" y="1729"/>
                    <a:pt x="3223" y="1729"/>
                    <a:pt x="3274" y="1723"/>
                  </a:cubicBezTo>
                  <a:cubicBezTo>
                    <a:pt x="3360" y="1713"/>
                    <a:pt x="3373" y="1705"/>
                    <a:pt x="3503" y="1587"/>
                  </a:cubicBezTo>
                  <a:cubicBezTo>
                    <a:pt x="3578" y="1518"/>
                    <a:pt x="3645" y="1462"/>
                    <a:pt x="3652" y="1462"/>
                  </a:cubicBezTo>
                  <a:cubicBezTo>
                    <a:pt x="3664" y="1462"/>
                    <a:pt x="3669" y="1475"/>
                    <a:pt x="3706" y="1643"/>
                  </a:cubicBezTo>
                  <a:cubicBezTo>
                    <a:pt x="3732" y="1753"/>
                    <a:pt x="3741" y="1774"/>
                    <a:pt x="3796" y="1817"/>
                  </a:cubicBezTo>
                  <a:cubicBezTo>
                    <a:pt x="3831" y="1843"/>
                    <a:pt x="3906" y="1939"/>
                    <a:pt x="3967" y="2029"/>
                  </a:cubicBezTo>
                  <a:cubicBezTo>
                    <a:pt x="4135" y="2280"/>
                    <a:pt x="4130" y="2246"/>
                    <a:pt x="4016" y="2374"/>
                  </a:cubicBezTo>
                  <a:cubicBezTo>
                    <a:pt x="3908" y="2497"/>
                    <a:pt x="3896" y="2525"/>
                    <a:pt x="3880" y="2697"/>
                  </a:cubicBezTo>
                  <a:cubicBezTo>
                    <a:pt x="3866" y="2849"/>
                    <a:pt x="3858" y="2862"/>
                    <a:pt x="3780" y="2856"/>
                  </a:cubicBezTo>
                  <a:cubicBezTo>
                    <a:pt x="3722" y="2853"/>
                    <a:pt x="3712" y="2859"/>
                    <a:pt x="3604" y="2973"/>
                  </a:cubicBezTo>
                  <a:lnTo>
                    <a:pt x="3460" y="3126"/>
                  </a:lnTo>
                  <a:close/>
                </a:path>
              </a:pathLst>
            </a:custGeom>
            <a:solidFill>
              <a:srgbClr val="1B3F6B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76" name="Курганская область">
              <a:extLst>
                <a:ext uri="{FF2B5EF4-FFF2-40B4-BE49-F238E27FC236}">
                  <a16:creationId xmlns="" xmlns:a16="http://schemas.microsoft.com/office/drawing/2014/main" id="{00000000-0008-0000-0300-000053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8149" y="6783604"/>
              <a:ext cx="832743" cy="506834"/>
            </a:xfrm>
            <a:custGeom>
              <a:avLst/>
              <a:gdLst/>
              <a:ahLst/>
              <a:cxnLst>
                <a:cxn ang="0">
                  <a:pos x="880" y="853"/>
                </a:cxn>
                <a:cxn ang="0">
                  <a:pos x="584" y="845"/>
                </a:cxn>
                <a:cxn ang="0">
                  <a:pos x="341" y="834"/>
                </a:cxn>
                <a:cxn ang="0">
                  <a:pos x="150" y="795"/>
                </a:cxn>
                <a:cxn ang="0">
                  <a:pos x="184" y="727"/>
                </a:cxn>
                <a:cxn ang="0">
                  <a:pos x="219" y="650"/>
                </a:cxn>
                <a:cxn ang="0">
                  <a:pos x="106" y="600"/>
                </a:cxn>
                <a:cxn ang="0">
                  <a:pos x="0" y="562"/>
                </a:cxn>
                <a:cxn ang="0">
                  <a:pos x="150" y="352"/>
                </a:cxn>
                <a:cxn ang="0">
                  <a:pos x="208" y="176"/>
                </a:cxn>
                <a:cxn ang="0">
                  <a:pos x="208" y="53"/>
                </a:cxn>
                <a:cxn ang="0">
                  <a:pos x="264" y="27"/>
                </a:cxn>
                <a:cxn ang="0">
                  <a:pos x="358" y="0"/>
                </a:cxn>
                <a:cxn ang="0">
                  <a:pos x="571" y="90"/>
                </a:cxn>
                <a:cxn ang="0">
                  <a:pos x="680" y="90"/>
                </a:cxn>
                <a:cxn ang="0">
                  <a:pos x="774" y="141"/>
                </a:cxn>
                <a:cxn ang="0">
                  <a:pos x="925" y="440"/>
                </a:cxn>
                <a:cxn ang="0">
                  <a:pos x="1130" y="555"/>
                </a:cxn>
                <a:cxn ang="0">
                  <a:pos x="1226" y="664"/>
                </a:cxn>
                <a:cxn ang="0">
                  <a:pos x="1266" y="831"/>
                </a:cxn>
                <a:cxn ang="0">
                  <a:pos x="880" y="853"/>
                </a:cxn>
              </a:cxnLst>
              <a:rect l="0" t="0" r="r" b="b"/>
              <a:pathLst>
                <a:path w="1326" h="880">
                  <a:moveTo>
                    <a:pt x="880" y="853"/>
                  </a:moveTo>
                  <a:cubicBezTo>
                    <a:pt x="709" y="834"/>
                    <a:pt x="632" y="832"/>
                    <a:pt x="584" y="845"/>
                  </a:cubicBezTo>
                  <a:cubicBezTo>
                    <a:pt x="536" y="858"/>
                    <a:pt x="477" y="855"/>
                    <a:pt x="341" y="834"/>
                  </a:cubicBezTo>
                  <a:cubicBezTo>
                    <a:pt x="243" y="819"/>
                    <a:pt x="157" y="802"/>
                    <a:pt x="150" y="795"/>
                  </a:cubicBezTo>
                  <a:cubicBezTo>
                    <a:pt x="146" y="789"/>
                    <a:pt x="160" y="759"/>
                    <a:pt x="184" y="727"/>
                  </a:cubicBezTo>
                  <a:cubicBezTo>
                    <a:pt x="208" y="696"/>
                    <a:pt x="224" y="661"/>
                    <a:pt x="219" y="650"/>
                  </a:cubicBezTo>
                  <a:cubicBezTo>
                    <a:pt x="214" y="639"/>
                    <a:pt x="163" y="616"/>
                    <a:pt x="106" y="600"/>
                  </a:cubicBezTo>
                  <a:cubicBezTo>
                    <a:pt x="48" y="586"/>
                    <a:pt x="0" y="567"/>
                    <a:pt x="0" y="562"/>
                  </a:cubicBezTo>
                  <a:cubicBezTo>
                    <a:pt x="0" y="536"/>
                    <a:pt x="96" y="405"/>
                    <a:pt x="150" y="352"/>
                  </a:cubicBezTo>
                  <a:cubicBezTo>
                    <a:pt x="206" y="298"/>
                    <a:pt x="208" y="295"/>
                    <a:pt x="208" y="176"/>
                  </a:cubicBezTo>
                  <a:lnTo>
                    <a:pt x="208" y="53"/>
                  </a:lnTo>
                  <a:lnTo>
                    <a:pt x="264" y="27"/>
                  </a:lnTo>
                  <a:cubicBezTo>
                    <a:pt x="296" y="11"/>
                    <a:pt x="338" y="0"/>
                    <a:pt x="358" y="0"/>
                  </a:cubicBezTo>
                  <a:cubicBezTo>
                    <a:pt x="424" y="0"/>
                    <a:pt x="546" y="51"/>
                    <a:pt x="571" y="90"/>
                  </a:cubicBezTo>
                  <a:cubicBezTo>
                    <a:pt x="602" y="138"/>
                    <a:pt x="619" y="138"/>
                    <a:pt x="680" y="90"/>
                  </a:cubicBezTo>
                  <a:cubicBezTo>
                    <a:pt x="747" y="35"/>
                    <a:pt x="789" y="58"/>
                    <a:pt x="774" y="141"/>
                  </a:cubicBezTo>
                  <a:cubicBezTo>
                    <a:pt x="760" y="229"/>
                    <a:pt x="859" y="427"/>
                    <a:pt x="925" y="440"/>
                  </a:cubicBezTo>
                  <a:cubicBezTo>
                    <a:pt x="1008" y="458"/>
                    <a:pt x="1102" y="511"/>
                    <a:pt x="1130" y="555"/>
                  </a:cubicBezTo>
                  <a:cubicBezTo>
                    <a:pt x="1146" y="579"/>
                    <a:pt x="1189" y="629"/>
                    <a:pt x="1226" y="664"/>
                  </a:cubicBezTo>
                  <a:cubicBezTo>
                    <a:pt x="1318" y="751"/>
                    <a:pt x="1326" y="787"/>
                    <a:pt x="1266" y="831"/>
                  </a:cubicBezTo>
                  <a:cubicBezTo>
                    <a:pt x="1198" y="879"/>
                    <a:pt x="1150" y="880"/>
                    <a:pt x="880" y="853"/>
                  </a:cubicBezTo>
                  <a:close/>
                </a:path>
              </a:pathLst>
            </a:custGeom>
            <a:solidFill>
              <a:srgbClr val="5B93D7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77" name="Курская область">
              <a:extLst>
                <a:ext uri="{FF2B5EF4-FFF2-40B4-BE49-F238E27FC236}">
                  <a16:creationId xmlns="" xmlns:a16="http://schemas.microsoft.com/office/drawing/2014/main" id="{00000000-0008-0000-0300-000054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6386" y="5613276"/>
              <a:ext cx="471553" cy="442328"/>
            </a:xfrm>
            <a:custGeom>
              <a:avLst/>
              <a:gdLst>
                <a:gd name="T0" fmla="*/ 557 w 47"/>
                <a:gd name="T1" fmla="*/ 695 h 48"/>
                <a:gd name="T2" fmla="*/ 439 w 47"/>
                <a:gd name="T3" fmla="*/ 621 h 48"/>
                <a:gd name="T4" fmla="*/ 290 w 47"/>
                <a:gd name="T5" fmla="*/ 549 h 48"/>
                <a:gd name="T6" fmla="*/ 143 w 47"/>
                <a:gd name="T7" fmla="*/ 471 h 48"/>
                <a:gd name="T8" fmla="*/ 74 w 47"/>
                <a:gd name="T9" fmla="*/ 415 h 48"/>
                <a:gd name="T10" fmla="*/ 42 w 47"/>
                <a:gd name="T11" fmla="*/ 285 h 48"/>
                <a:gd name="T12" fmla="*/ 66 w 47"/>
                <a:gd name="T13" fmla="*/ 128 h 48"/>
                <a:gd name="T14" fmla="*/ 146 w 47"/>
                <a:gd name="T15" fmla="*/ 52 h 48"/>
                <a:gd name="T16" fmla="*/ 255 w 47"/>
                <a:gd name="T17" fmla="*/ 8 h 48"/>
                <a:gd name="T18" fmla="*/ 423 w 47"/>
                <a:gd name="T19" fmla="*/ 111 h 48"/>
                <a:gd name="T20" fmla="*/ 572 w 47"/>
                <a:gd name="T21" fmla="*/ 362 h 48"/>
                <a:gd name="T22" fmla="*/ 676 w 47"/>
                <a:gd name="T23" fmla="*/ 540 h 48"/>
                <a:gd name="T24" fmla="*/ 762 w 47"/>
                <a:gd name="T25" fmla="*/ 642 h 48"/>
                <a:gd name="T26" fmla="*/ 719 w 47"/>
                <a:gd name="T27" fmla="*/ 685 h 48"/>
                <a:gd name="T28" fmla="*/ 557 w 47"/>
                <a:gd name="T29" fmla="*/ 695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7"/>
                <a:gd name="T46" fmla="*/ 0 h 48"/>
                <a:gd name="T47" fmla="*/ 762 w 47"/>
                <a:gd name="T48" fmla="*/ 764 h 4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7" h="48">
                  <a:moveTo>
                    <a:pt x="34" y="44"/>
                  </a:moveTo>
                  <a:cubicBezTo>
                    <a:pt x="32" y="41"/>
                    <a:pt x="30" y="40"/>
                    <a:pt x="27" y="39"/>
                  </a:cubicBezTo>
                  <a:cubicBezTo>
                    <a:pt x="24" y="39"/>
                    <a:pt x="21" y="37"/>
                    <a:pt x="18" y="34"/>
                  </a:cubicBezTo>
                  <a:cubicBezTo>
                    <a:pt x="15" y="32"/>
                    <a:pt x="11" y="30"/>
                    <a:pt x="9" y="30"/>
                  </a:cubicBezTo>
                  <a:cubicBezTo>
                    <a:pt x="5" y="29"/>
                    <a:pt x="5" y="28"/>
                    <a:pt x="5" y="26"/>
                  </a:cubicBezTo>
                  <a:cubicBezTo>
                    <a:pt x="5" y="25"/>
                    <a:pt x="4" y="21"/>
                    <a:pt x="3" y="18"/>
                  </a:cubicBezTo>
                  <a:cubicBezTo>
                    <a:pt x="0" y="10"/>
                    <a:pt x="0" y="10"/>
                    <a:pt x="4" y="8"/>
                  </a:cubicBezTo>
                  <a:cubicBezTo>
                    <a:pt x="6" y="7"/>
                    <a:pt x="8" y="5"/>
                    <a:pt x="9" y="3"/>
                  </a:cubicBezTo>
                  <a:cubicBezTo>
                    <a:pt x="11" y="0"/>
                    <a:pt x="11" y="0"/>
                    <a:pt x="16" y="1"/>
                  </a:cubicBezTo>
                  <a:cubicBezTo>
                    <a:pt x="20" y="1"/>
                    <a:pt x="21" y="2"/>
                    <a:pt x="26" y="7"/>
                  </a:cubicBezTo>
                  <a:cubicBezTo>
                    <a:pt x="33" y="15"/>
                    <a:pt x="34" y="16"/>
                    <a:pt x="35" y="23"/>
                  </a:cubicBezTo>
                  <a:cubicBezTo>
                    <a:pt x="36" y="28"/>
                    <a:pt x="37" y="29"/>
                    <a:pt x="42" y="34"/>
                  </a:cubicBezTo>
                  <a:cubicBezTo>
                    <a:pt x="45" y="37"/>
                    <a:pt x="47" y="40"/>
                    <a:pt x="47" y="40"/>
                  </a:cubicBezTo>
                  <a:cubicBezTo>
                    <a:pt x="47" y="41"/>
                    <a:pt x="46" y="42"/>
                    <a:pt x="44" y="43"/>
                  </a:cubicBezTo>
                  <a:cubicBezTo>
                    <a:pt x="37" y="48"/>
                    <a:pt x="38" y="48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78" name="Ленинградская область">
              <a:extLst>
                <a:ext uri="{FF2B5EF4-FFF2-40B4-BE49-F238E27FC236}">
                  <a16:creationId xmlns="" xmlns:a16="http://schemas.microsoft.com/office/drawing/2014/main" id="{00000000-0008-0000-0300-000055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8864" y="3871608"/>
              <a:ext cx="923040" cy="746429"/>
            </a:xfrm>
            <a:custGeom>
              <a:avLst/>
              <a:gdLst/>
              <a:ahLst/>
              <a:cxnLst>
                <a:cxn ang="0">
                  <a:pos x="896" y="1262"/>
                </a:cxn>
                <a:cxn ang="0">
                  <a:pos x="877" y="1230"/>
                </a:cxn>
                <a:cxn ang="0">
                  <a:pos x="810" y="1073"/>
                </a:cxn>
                <a:cxn ang="0">
                  <a:pos x="744" y="929"/>
                </a:cxn>
                <a:cxn ang="0">
                  <a:pos x="682" y="929"/>
                </a:cxn>
                <a:cxn ang="0">
                  <a:pos x="629" y="897"/>
                </a:cxn>
                <a:cxn ang="0">
                  <a:pos x="605" y="809"/>
                </a:cxn>
                <a:cxn ang="0">
                  <a:pos x="461" y="768"/>
                </a:cxn>
                <a:cxn ang="0">
                  <a:pos x="243" y="713"/>
                </a:cxn>
                <a:cxn ang="0">
                  <a:pos x="157" y="697"/>
                </a:cxn>
                <a:cxn ang="0">
                  <a:pos x="103" y="721"/>
                </a:cxn>
                <a:cxn ang="0">
                  <a:pos x="87" y="628"/>
                </a:cxn>
                <a:cxn ang="0">
                  <a:pos x="42" y="428"/>
                </a:cxn>
                <a:cxn ang="0">
                  <a:pos x="119" y="281"/>
                </a:cxn>
                <a:cxn ang="0">
                  <a:pos x="267" y="305"/>
                </a:cxn>
                <a:cxn ang="0">
                  <a:pos x="391" y="500"/>
                </a:cxn>
                <a:cxn ang="0">
                  <a:pos x="483" y="569"/>
                </a:cxn>
                <a:cxn ang="0">
                  <a:pos x="621" y="574"/>
                </a:cxn>
                <a:cxn ang="0">
                  <a:pos x="719" y="481"/>
                </a:cxn>
                <a:cxn ang="0">
                  <a:pos x="754" y="380"/>
                </a:cxn>
                <a:cxn ang="0">
                  <a:pos x="645" y="313"/>
                </a:cxn>
                <a:cxn ang="0">
                  <a:pos x="527" y="206"/>
                </a:cxn>
                <a:cxn ang="0">
                  <a:pos x="563" y="56"/>
                </a:cxn>
                <a:cxn ang="0">
                  <a:pos x="688" y="4"/>
                </a:cxn>
                <a:cxn ang="0">
                  <a:pos x="803" y="100"/>
                </a:cxn>
                <a:cxn ang="0">
                  <a:pos x="947" y="412"/>
                </a:cxn>
                <a:cxn ang="0">
                  <a:pos x="1045" y="633"/>
                </a:cxn>
                <a:cxn ang="0">
                  <a:pos x="1138" y="646"/>
                </a:cxn>
                <a:cxn ang="0">
                  <a:pos x="1272" y="622"/>
                </a:cxn>
                <a:cxn ang="0">
                  <a:pos x="1312" y="585"/>
                </a:cxn>
                <a:cxn ang="0">
                  <a:pos x="1351" y="633"/>
                </a:cxn>
                <a:cxn ang="0">
                  <a:pos x="1437" y="747"/>
                </a:cxn>
                <a:cxn ang="0">
                  <a:pos x="1485" y="814"/>
                </a:cxn>
                <a:cxn ang="0">
                  <a:pos x="1427" y="833"/>
                </a:cxn>
                <a:cxn ang="0">
                  <a:pos x="1253" y="955"/>
                </a:cxn>
                <a:cxn ang="0">
                  <a:pos x="1130" y="1108"/>
                </a:cxn>
                <a:cxn ang="0">
                  <a:pos x="1029" y="1219"/>
                </a:cxn>
                <a:cxn ang="0">
                  <a:pos x="896" y="1262"/>
                </a:cxn>
              </a:cxnLst>
              <a:rect l="0" t="0" r="r" b="b"/>
              <a:pathLst>
                <a:path w="1485" h="1288">
                  <a:moveTo>
                    <a:pt x="896" y="1262"/>
                  </a:moveTo>
                  <a:cubicBezTo>
                    <a:pt x="885" y="1251"/>
                    <a:pt x="877" y="1236"/>
                    <a:pt x="877" y="1230"/>
                  </a:cubicBezTo>
                  <a:cubicBezTo>
                    <a:pt x="877" y="1222"/>
                    <a:pt x="847" y="1152"/>
                    <a:pt x="810" y="1073"/>
                  </a:cubicBezTo>
                  <a:lnTo>
                    <a:pt x="744" y="929"/>
                  </a:lnTo>
                  <a:lnTo>
                    <a:pt x="682" y="929"/>
                  </a:lnTo>
                  <a:cubicBezTo>
                    <a:pt x="626" y="929"/>
                    <a:pt x="619" y="924"/>
                    <a:pt x="629" y="897"/>
                  </a:cubicBezTo>
                  <a:cubicBezTo>
                    <a:pt x="635" y="876"/>
                    <a:pt x="626" y="843"/>
                    <a:pt x="605" y="809"/>
                  </a:cubicBezTo>
                  <a:cubicBezTo>
                    <a:pt x="570" y="752"/>
                    <a:pt x="544" y="744"/>
                    <a:pt x="461" y="768"/>
                  </a:cubicBezTo>
                  <a:cubicBezTo>
                    <a:pt x="399" y="785"/>
                    <a:pt x="288" y="758"/>
                    <a:pt x="243" y="713"/>
                  </a:cubicBezTo>
                  <a:cubicBezTo>
                    <a:pt x="205" y="675"/>
                    <a:pt x="202" y="673"/>
                    <a:pt x="157" y="697"/>
                  </a:cubicBezTo>
                  <a:cubicBezTo>
                    <a:pt x="131" y="710"/>
                    <a:pt x="107" y="721"/>
                    <a:pt x="103" y="721"/>
                  </a:cubicBezTo>
                  <a:cubicBezTo>
                    <a:pt x="99" y="721"/>
                    <a:pt x="91" y="680"/>
                    <a:pt x="87" y="628"/>
                  </a:cubicBezTo>
                  <a:cubicBezTo>
                    <a:pt x="80" y="579"/>
                    <a:pt x="61" y="488"/>
                    <a:pt x="42" y="428"/>
                  </a:cubicBezTo>
                  <a:cubicBezTo>
                    <a:pt x="0" y="304"/>
                    <a:pt x="3" y="299"/>
                    <a:pt x="119" y="281"/>
                  </a:cubicBezTo>
                  <a:cubicBezTo>
                    <a:pt x="170" y="273"/>
                    <a:pt x="207" y="280"/>
                    <a:pt x="267" y="305"/>
                  </a:cubicBezTo>
                  <a:cubicBezTo>
                    <a:pt x="352" y="342"/>
                    <a:pt x="367" y="364"/>
                    <a:pt x="391" y="500"/>
                  </a:cubicBezTo>
                  <a:cubicBezTo>
                    <a:pt x="400" y="556"/>
                    <a:pt x="403" y="560"/>
                    <a:pt x="483" y="569"/>
                  </a:cubicBezTo>
                  <a:cubicBezTo>
                    <a:pt x="528" y="574"/>
                    <a:pt x="591" y="577"/>
                    <a:pt x="621" y="574"/>
                  </a:cubicBezTo>
                  <a:cubicBezTo>
                    <a:pt x="671" y="569"/>
                    <a:pt x="680" y="560"/>
                    <a:pt x="719" y="481"/>
                  </a:cubicBezTo>
                  <a:cubicBezTo>
                    <a:pt x="743" y="432"/>
                    <a:pt x="759" y="387"/>
                    <a:pt x="754" y="380"/>
                  </a:cubicBezTo>
                  <a:cubicBezTo>
                    <a:pt x="751" y="374"/>
                    <a:pt x="703" y="344"/>
                    <a:pt x="645" y="313"/>
                  </a:cubicBezTo>
                  <a:cubicBezTo>
                    <a:pt x="570" y="270"/>
                    <a:pt x="539" y="243"/>
                    <a:pt x="527" y="206"/>
                  </a:cubicBezTo>
                  <a:cubicBezTo>
                    <a:pt x="501" y="131"/>
                    <a:pt x="504" y="116"/>
                    <a:pt x="563" y="56"/>
                  </a:cubicBezTo>
                  <a:cubicBezTo>
                    <a:pt x="611" y="4"/>
                    <a:pt x="626" y="0"/>
                    <a:pt x="688" y="4"/>
                  </a:cubicBezTo>
                  <a:cubicBezTo>
                    <a:pt x="755" y="9"/>
                    <a:pt x="759" y="12"/>
                    <a:pt x="803" y="100"/>
                  </a:cubicBezTo>
                  <a:cubicBezTo>
                    <a:pt x="829" y="152"/>
                    <a:pt x="893" y="291"/>
                    <a:pt x="947" y="412"/>
                  </a:cubicBezTo>
                  <a:lnTo>
                    <a:pt x="1045" y="633"/>
                  </a:lnTo>
                  <a:lnTo>
                    <a:pt x="1138" y="646"/>
                  </a:lnTo>
                  <a:cubicBezTo>
                    <a:pt x="1224" y="659"/>
                    <a:pt x="1234" y="657"/>
                    <a:pt x="1272" y="622"/>
                  </a:cubicBezTo>
                  <a:lnTo>
                    <a:pt x="1312" y="585"/>
                  </a:lnTo>
                  <a:lnTo>
                    <a:pt x="1351" y="633"/>
                  </a:lnTo>
                  <a:cubicBezTo>
                    <a:pt x="1371" y="659"/>
                    <a:pt x="1411" y="710"/>
                    <a:pt x="1437" y="747"/>
                  </a:cubicBezTo>
                  <a:lnTo>
                    <a:pt x="1485" y="814"/>
                  </a:lnTo>
                  <a:lnTo>
                    <a:pt x="1427" y="833"/>
                  </a:lnTo>
                  <a:cubicBezTo>
                    <a:pt x="1395" y="844"/>
                    <a:pt x="1317" y="899"/>
                    <a:pt x="1253" y="955"/>
                  </a:cubicBezTo>
                  <a:cubicBezTo>
                    <a:pt x="1160" y="1036"/>
                    <a:pt x="1135" y="1068"/>
                    <a:pt x="1130" y="1108"/>
                  </a:cubicBezTo>
                  <a:cubicBezTo>
                    <a:pt x="1127" y="1150"/>
                    <a:pt x="1109" y="1168"/>
                    <a:pt x="1029" y="1219"/>
                  </a:cubicBezTo>
                  <a:cubicBezTo>
                    <a:pt x="919" y="1288"/>
                    <a:pt x="922" y="1286"/>
                    <a:pt x="896" y="1262"/>
                  </a:cubicBezTo>
                  <a:close/>
                </a:path>
              </a:pathLst>
            </a:custGeom>
            <a:solidFill>
              <a:srgbClr val="3072C2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79" name="Липецкая область">
              <a:extLst>
                <a:ext uri="{FF2B5EF4-FFF2-40B4-BE49-F238E27FC236}">
                  <a16:creationId xmlns="" xmlns:a16="http://schemas.microsoft.com/office/drawing/2014/main" id="{00000000-0008-0000-0300-000056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7840" y="5779149"/>
              <a:ext cx="431421" cy="368607"/>
            </a:xfrm>
            <a:custGeom>
              <a:avLst/>
              <a:gdLst/>
              <a:ahLst/>
              <a:cxnLst>
                <a:cxn ang="0">
                  <a:pos x="381" y="605"/>
                </a:cxn>
                <a:cxn ang="0">
                  <a:pos x="304" y="518"/>
                </a:cxn>
                <a:cxn ang="0">
                  <a:pos x="267" y="449"/>
                </a:cxn>
                <a:cxn ang="0">
                  <a:pos x="221" y="395"/>
                </a:cxn>
                <a:cxn ang="0">
                  <a:pos x="144" y="342"/>
                </a:cxn>
                <a:cxn ang="0">
                  <a:pos x="48" y="272"/>
                </a:cxn>
                <a:cxn ang="0">
                  <a:pos x="0" y="214"/>
                </a:cxn>
                <a:cxn ang="0">
                  <a:pos x="56" y="209"/>
                </a:cxn>
                <a:cxn ang="0">
                  <a:pos x="179" y="113"/>
                </a:cxn>
                <a:cxn ang="0">
                  <a:pos x="258" y="8"/>
                </a:cxn>
                <a:cxn ang="0">
                  <a:pos x="309" y="38"/>
                </a:cxn>
                <a:cxn ang="0">
                  <a:pos x="347" y="83"/>
                </a:cxn>
                <a:cxn ang="0">
                  <a:pos x="418" y="54"/>
                </a:cxn>
                <a:cxn ang="0">
                  <a:pos x="506" y="19"/>
                </a:cxn>
                <a:cxn ang="0">
                  <a:pos x="688" y="237"/>
                </a:cxn>
                <a:cxn ang="0">
                  <a:pos x="600" y="310"/>
                </a:cxn>
                <a:cxn ang="0">
                  <a:pos x="512" y="374"/>
                </a:cxn>
                <a:cxn ang="0">
                  <a:pos x="515" y="493"/>
                </a:cxn>
                <a:cxn ang="0">
                  <a:pos x="478" y="622"/>
                </a:cxn>
                <a:cxn ang="0">
                  <a:pos x="381" y="605"/>
                </a:cxn>
              </a:cxnLst>
              <a:rect l="0" t="0" r="r" b="b"/>
              <a:pathLst>
                <a:path w="688" h="630">
                  <a:moveTo>
                    <a:pt x="381" y="605"/>
                  </a:moveTo>
                  <a:cubicBezTo>
                    <a:pt x="341" y="584"/>
                    <a:pt x="317" y="557"/>
                    <a:pt x="304" y="518"/>
                  </a:cubicBezTo>
                  <a:cubicBezTo>
                    <a:pt x="294" y="488"/>
                    <a:pt x="277" y="456"/>
                    <a:pt x="267" y="449"/>
                  </a:cubicBezTo>
                  <a:cubicBezTo>
                    <a:pt x="256" y="443"/>
                    <a:pt x="235" y="419"/>
                    <a:pt x="221" y="395"/>
                  </a:cubicBezTo>
                  <a:cubicBezTo>
                    <a:pt x="205" y="371"/>
                    <a:pt x="171" y="349"/>
                    <a:pt x="144" y="342"/>
                  </a:cubicBezTo>
                  <a:cubicBezTo>
                    <a:pt x="117" y="336"/>
                    <a:pt x="75" y="305"/>
                    <a:pt x="48" y="272"/>
                  </a:cubicBezTo>
                  <a:lnTo>
                    <a:pt x="0" y="214"/>
                  </a:lnTo>
                  <a:lnTo>
                    <a:pt x="56" y="209"/>
                  </a:lnTo>
                  <a:cubicBezTo>
                    <a:pt x="104" y="205"/>
                    <a:pt x="123" y="190"/>
                    <a:pt x="179" y="113"/>
                  </a:cubicBezTo>
                  <a:cubicBezTo>
                    <a:pt x="214" y="62"/>
                    <a:pt x="250" y="16"/>
                    <a:pt x="258" y="8"/>
                  </a:cubicBezTo>
                  <a:cubicBezTo>
                    <a:pt x="264" y="0"/>
                    <a:pt x="288" y="14"/>
                    <a:pt x="309" y="38"/>
                  </a:cubicBezTo>
                  <a:lnTo>
                    <a:pt x="347" y="83"/>
                  </a:lnTo>
                  <a:lnTo>
                    <a:pt x="418" y="54"/>
                  </a:lnTo>
                  <a:cubicBezTo>
                    <a:pt x="456" y="40"/>
                    <a:pt x="496" y="24"/>
                    <a:pt x="506" y="19"/>
                  </a:cubicBezTo>
                  <a:cubicBezTo>
                    <a:pt x="522" y="13"/>
                    <a:pt x="688" y="213"/>
                    <a:pt x="688" y="237"/>
                  </a:cubicBezTo>
                  <a:cubicBezTo>
                    <a:pt x="688" y="241"/>
                    <a:pt x="648" y="275"/>
                    <a:pt x="600" y="310"/>
                  </a:cubicBezTo>
                  <a:lnTo>
                    <a:pt x="512" y="374"/>
                  </a:lnTo>
                  <a:lnTo>
                    <a:pt x="515" y="493"/>
                  </a:lnTo>
                  <a:cubicBezTo>
                    <a:pt x="520" y="608"/>
                    <a:pt x="518" y="613"/>
                    <a:pt x="478" y="622"/>
                  </a:cubicBezTo>
                  <a:cubicBezTo>
                    <a:pt x="453" y="630"/>
                    <a:pt x="418" y="624"/>
                    <a:pt x="381" y="605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80" name="Магаданская область">
              <a:extLst>
                <a:ext uri="{FF2B5EF4-FFF2-40B4-BE49-F238E27FC236}">
                  <a16:creationId xmlns="" xmlns:a16="http://schemas.microsoft.com/office/drawing/2014/main" id="{00000000-0008-0000-0300-000057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57028" y="2516977"/>
              <a:ext cx="1504956" cy="1889111"/>
            </a:xfrm>
            <a:custGeom>
              <a:avLst/>
              <a:gdLst/>
              <a:ahLst/>
              <a:cxnLst>
                <a:cxn ang="0">
                  <a:pos x="872" y="3135"/>
                </a:cxn>
                <a:cxn ang="0">
                  <a:pos x="858" y="2991"/>
                </a:cxn>
                <a:cxn ang="0">
                  <a:pos x="511" y="2799"/>
                </a:cxn>
                <a:cxn ang="0">
                  <a:pos x="320" y="2896"/>
                </a:cxn>
                <a:cxn ang="0">
                  <a:pos x="194" y="2658"/>
                </a:cxn>
                <a:cxn ang="0">
                  <a:pos x="0" y="2187"/>
                </a:cxn>
                <a:cxn ang="0">
                  <a:pos x="221" y="2059"/>
                </a:cxn>
                <a:cxn ang="0">
                  <a:pos x="95" y="1901"/>
                </a:cxn>
                <a:cxn ang="0">
                  <a:pos x="312" y="1744"/>
                </a:cxn>
                <a:cxn ang="0">
                  <a:pos x="431" y="1771"/>
                </a:cxn>
                <a:cxn ang="0">
                  <a:pos x="476" y="1533"/>
                </a:cxn>
                <a:cxn ang="0">
                  <a:pos x="464" y="1311"/>
                </a:cxn>
                <a:cxn ang="0">
                  <a:pos x="376" y="1128"/>
                </a:cxn>
                <a:cxn ang="0">
                  <a:pos x="280" y="946"/>
                </a:cxn>
                <a:cxn ang="0">
                  <a:pos x="208" y="760"/>
                </a:cxn>
                <a:cxn ang="0">
                  <a:pos x="434" y="573"/>
                </a:cxn>
                <a:cxn ang="0">
                  <a:pos x="581" y="410"/>
                </a:cxn>
                <a:cxn ang="0">
                  <a:pos x="575" y="216"/>
                </a:cxn>
                <a:cxn ang="0">
                  <a:pos x="709" y="296"/>
                </a:cxn>
                <a:cxn ang="0">
                  <a:pos x="914" y="287"/>
                </a:cxn>
                <a:cxn ang="0">
                  <a:pos x="1268" y="112"/>
                </a:cxn>
                <a:cxn ang="0">
                  <a:pos x="1597" y="120"/>
                </a:cxn>
                <a:cxn ang="0">
                  <a:pos x="1815" y="330"/>
                </a:cxn>
                <a:cxn ang="0">
                  <a:pos x="1935" y="432"/>
                </a:cxn>
                <a:cxn ang="0">
                  <a:pos x="2184" y="567"/>
                </a:cxn>
                <a:cxn ang="0">
                  <a:pos x="2400" y="1103"/>
                </a:cxn>
                <a:cxn ang="0">
                  <a:pos x="2164" y="999"/>
                </a:cxn>
                <a:cxn ang="0">
                  <a:pos x="1908" y="1107"/>
                </a:cxn>
                <a:cxn ang="0">
                  <a:pos x="1912" y="1847"/>
                </a:cxn>
                <a:cxn ang="0">
                  <a:pos x="2192" y="2282"/>
                </a:cxn>
                <a:cxn ang="0">
                  <a:pos x="2196" y="2373"/>
                </a:cxn>
                <a:cxn ang="0">
                  <a:pos x="1972" y="2872"/>
                </a:cxn>
                <a:cxn ang="0">
                  <a:pos x="1864" y="2680"/>
                </a:cxn>
                <a:cxn ang="0">
                  <a:pos x="1480" y="3024"/>
                </a:cxn>
                <a:cxn ang="0">
                  <a:pos x="1432" y="3160"/>
                </a:cxn>
                <a:cxn ang="0">
                  <a:pos x="1181" y="3208"/>
                </a:cxn>
                <a:cxn ang="0">
                  <a:pos x="845" y="3232"/>
                </a:cxn>
              </a:cxnLst>
              <a:rect l="0" t="0" r="r" b="b"/>
              <a:pathLst>
                <a:path w="2400" h="3280">
                  <a:moveTo>
                    <a:pt x="845" y="3232"/>
                  </a:moveTo>
                  <a:cubicBezTo>
                    <a:pt x="831" y="3199"/>
                    <a:pt x="834" y="3184"/>
                    <a:pt x="872" y="3135"/>
                  </a:cubicBezTo>
                  <a:lnTo>
                    <a:pt x="916" y="3077"/>
                  </a:lnTo>
                  <a:lnTo>
                    <a:pt x="858" y="2991"/>
                  </a:lnTo>
                  <a:cubicBezTo>
                    <a:pt x="797" y="2899"/>
                    <a:pt x="704" y="2839"/>
                    <a:pt x="592" y="2816"/>
                  </a:cubicBezTo>
                  <a:cubicBezTo>
                    <a:pt x="562" y="2810"/>
                    <a:pt x="525" y="2802"/>
                    <a:pt x="511" y="2799"/>
                  </a:cubicBezTo>
                  <a:cubicBezTo>
                    <a:pt x="496" y="2794"/>
                    <a:pt x="452" y="2816"/>
                    <a:pt x="412" y="2848"/>
                  </a:cubicBezTo>
                  <a:cubicBezTo>
                    <a:pt x="370" y="2880"/>
                    <a:pt x="328" y="2901"/>
                    <a:pt x="320" y="2896"/>
                  </a:cubicBezTo>
                  <a:cubicBezTo>
                    <a:pt x="312" y="2890"/>
                    <a:pt x="304" y="2861"/>
                    <a:pt x="304" y="2829"/>
                  </a:cubicBezTo>
                  <a:cubicBezTo>
                    <a:pt x="304" y="2781"/>
                    <a:pt x="288" y="2755"/>
                    <a:pt x="194" y="2658"/>
                  </a:cubicBezTo>
                  <a:cubicBezTo>
                    <a:pt x="53" y="2512"/>
                    <a:pt x="0" y="2410"/>
                    <a:pt x="0" y="2282"/>
                  </a:cubicBezTo>
                  <a:lnTo>
                    <a:pt x="0" y="2187"/>
                  </a:lnTo>
                  <a:lnTo>
                    <a:pt x="106" y="2133"/>
                  </a:lnTo>
                  <a:cubicBezTo>
                    <a:pt x="165" y="2104"/>
                    <a:pt x="216" y="2071"/>
                    <a:pt x="221" y="2059"/>
                  </a:cubicBezTo>
                  <a:cubicBezTo>
                    <a:pt x="224" y="2047"/>
                    <a:pt x="199" y="2007"/>
                    <a:pt x="162" y="1968"/>
                  </a:cubicBezTo>
                  <a:lnTo>
                    <a:pt x="95" y="1901"/>
                  </a:lnTo>
                  <a:lnTo>
                    <a:pt x="188" y="1818"/>
                  </a:lnTo>
                  <a:cubicBezTo>
                    <a:pt x="255" y="1759"/>
                    <a:pt x="290" y="1738"/>
                    <a:pt x="312" y="1744"/>
                  </a:cubicBezTo>
                  <a:cubicBezTo>
                    <a:pt x="330" y="1749"/>
                    <a:pt x="364" y="1757"/>
                    <a:pt x="388" y="1762"/>
                  </a:cubicBezTo>
                  <a:lnTo>
                    <a:pt x="431" y="1771"/>
                  </a:lnTo>
                  <a:lnTo>
                    <a:pt x="421" y="1690"/>
                  </a:lnTo>
                  <a:cubicBezTo>
                    <a:pt x="413" y="1613"/>
                    <a:pt x="415" y="1605"/>
                    <a:pt x="476" y="1533"/>
                  </a:cubicBezTo>
                  <a:cubicBezTo>
                    <a:pt x="511" y="1490"/>
                    <a:pt x="544" y="1447"/>
                    <a:pt x="551" y="1435"/>
                  </a:cubicBezTo>
                  <a:cubicBezTo>
                    <a:pt x="557" y="1424"/>
                    <a:pt x="524" y="1376"/>
                    <a:pt x="464" y="1311"/>
                  </a:cubicBezTo>
                  <a:lnTo>
                    <a:pt x="365" y="1205"/>
                  </a:lnTo>
                  <a:lnTo>
                    <a:pt x="376" y="1128"/>
                  </a:lnTo>
                  <a:cubicBezTo>
                    <a:pt x="386" y="1053"/>
                    <a:pt x="386" y="1051"/>
                    <a:pt x="328" y="1016"/>
                  </a:cubicBezTo>
                  <a:cubicBezTo>
                    <a:pt x="282" y="987"/>
                    <a:pt x="272" y="973"/>
                    <a:pt x="280" y="946"/>
                  </a:cubicBezTo>
                  <a:cubicBezTo>
                    <a:pt x="309" y="853"/>
                    <a:pt x="308" y="845"/>
                    <a:pt x="258" y="808"/>
                  </a:cubicBezTo>
                  <a:cubicBezTo>
                    <a:pt x="231" y="789"/>
                    <a:pt x="208" y="768"/>
                    <a:pt x="208" y="760"/>
                  </a:cubicBezTo>
                  <a:cubicBezTo>
                    <a:pt x="208" y="754"/>
                    <a:pt x="256" y="717"/>
                    <a:pt x="314" y="679"/>
                  </a:cubicBezTo>
                  <a:cubicBezTo>
                    <a:pt x="372" y="640"/>
                    <a:pt x="426" y="594"/>
                    <a:pt x="434" y="573"/>
                  </a:cubicBezTo>
                  <a:cubicBezTo>
                    <a:pt x="444" y="546"/>
                    <a:pt x="460" y="536"/>
                    <a:pt x="495" y="536"/>
                  </a:cubicBezTo>
                  <a:cubicBezTo>
                    <a:pt x="552" y="536"/>
                    <a:pt x="552" y="536"/>
                    <a:pt x="581" y="410"/>
                  </a:cubicBezTo>
                  <a:cubicBezTo>
                    <a:pt x="604" y="317"/>
                    <a:pt x="602" y="309"/>
                    <a:pt x="573" y="272"/>
                  </a:cubicBezTo>
                  <a:cubicBezTo>
                    <a:pt x="544" y="234"/>
                    <a:pt x="544" y="234"/>
                    <a:pt x="575" y="216"/>
                  </a:cubicBezTo>
                  <a:cubicBezTo>
                    <a:pt x="597" y="205"/>
                    <a:pt x="610" y="207"/>
                    <a:pt x="628" y="227"/>
                  </a:cubicBezTo>
                  <a:cubicBezTo>
                    <a:pt x="639" y="242"/>
                    <a:pt x="676" y="272"/>
                    <a:pt x="709" y="296"/>
                  </a:cubicBezTo>
                  <a:lnTo>
                    <a:pt x="768" y="341"/>
                  </a:lnTo>
                  <a:lnTo>
                    <a:pt x="914" y="287"/>
                  </a:lnTo>
                  <a:cubicBezTo>
                    <a:pt x="1004" y="253"/>
                    <a:pt x="1084" y="211"/>
                    <a:pt x="1120" y="178"/>
                  </a:cubicBezTo>
                  <a:cubicBezTo>
                    <a:pt x="1167" y="136"/>
                    <a:pt x="1199" y="122"/>
                    <a:pt x="1268" y="112"/>
                  </a:cubicBezTo>
                  <a:cubicBezTo>
                    <a:pt x="1324" y="106"/>
                    <a:pt x="1376" y="87"/>
                    <a:pt x="1410" y="63"/>
                  </a:cubicBezTo>
                  <a:cubicBezTo>
                    <a:pt x="1495" y="0"/>
                    <a:pt x="1528" y="10"/>
                    <a:pt x="1597" y="120"/>
                  </a:cubicBezTo>
                  <a:cubicBezTo>
                    <a:pt x="1648" y="203"/>
                    <a:pt x="1663" y="216"/>
                    <a:pt x="1706" y="216"/>
                  </a:cubicBezTo>
                  <a:cubicBezTo>
                    <a:pt x="1765" y="216"/>
                    <a:pt x="1776" y="229"/>
                    <a:pt x="1815" y="330"/>
                  </a:cubicBezTo>
                  <a:cubicBezTo>
                    <a:pt x="1829" y="370"/>
                    <a:pt x="1850" y="415"/>
                    <a:pt x="1861" y="431"/>
                  </a:cubicBezTo>
                  <a:cubicBezTo>
                    <a:pt x="1882" y="458"/>
                    <a:pt x="1885" y="458"/>
                    <a:pt x="1935" y="432"/>
                  </a:cubicBezTo>
                  <a:cubicBezTo>
                    <a:pt x="1983" y="407"/>
                    <a:pt x="1989" y="408"/>
                    <a:pt x="2037" y="439"/>
                  </a:cubicBezTo>
                  <a:cubicBezTo>
                    <a:pt x="2066" y="456"/>
                    <a:pt x="2132" y="514"/>
                    <a:pt x="2184" y="567"/>
                  </a:cubicBezTo>
                  <a:cubicBezTo>
                    <a:pt x="2237" y="619"/>
                    <a:pt x="2288" y="664"/>
                    <a:pt x="2298" y="664"/>
                  </a:cubicBezTo>
                  <a:cubicBezTo>
                    <a:pt x="2312" y="664"/>
                    <a:pt x="2400" y="1043"/>
                    <a:pt x="2400" y="1103"/>
                  </a:cubicBezTo>
                  <a:cubicBezTo>
                    <a:pt x="2400" y="1117"/>
                    <a:pt x="2325" y="1112"/>
                    <a:pt x="2277" y="1095"/>
                  </a:cubicBezTo>
                  <a:cubicBezTo>
                    <a:pt x="2253" y="1085"/>
                    <a:pt x="2202" y="1042"/>
                    <a:pt x="2164" y="999"/>
                  </a:cubicBezTo>
                  <a:cubicBezTo>
                    <a:pt x="2125" y="955"/>
                    <a:pt x="2080" y="920"/>
                    <a:pt x="2063" y="920"/>
                  </a:cubicBezTo>
                  <a:cubicBezTo>
                    <a:pt x="2042" y="920"/>
                    <a:pt x="1994" y="978"/>
                    <a:pt x="1908" y="1107"/>
                  </a:cubicBezTo>
                  <a:cubicBezTo>
                    <a:pt x="1839" y="1211"/>
                    <a:pt x="1778" y="1307"/>
                    <a:pt x="1773" y="1322"/>
                  </a:cubicBezTo>
                  <a:cubicBezTo>
                    <a:pt x="1762" y="1349"/>
                    <a:pt x="1780" y="1415"/>
                    <a:pt x="1912" y="1847"/>
                  </a:cubicBezTo>
                  <a:cubicBezTo>
                    <a:pt x="1999" y="2127"/>
                    <a:pt x="2050" y="2237"/>
                    <a:pt x="2120" y="2295"/>
                  </a:cubicBezTo>
                  <a:cubicBezTo>
                    <a:pt x="2143" y="2314"/>
                    <a:pt x="2152" y="2312"/>
                    <a:pt x="2192" y="2282"/>
                  </a:cubicBezTo>
                  <a:cubicBezTo>
                    <a:pt x="2244" y="2245"/>
                    <a:pt x="2272" y="2239"/>
                    <a:pt x="2272" y="2264"/>
                  </a:cubicBezTo>
                  <a:cubicBezTo>
                    <a:pt x="2272" y="2274"/>
                    <a:pt x="2237" y="2322"/>
                    <a:pt x="2196" y="2373"/>
                  </a:cubicBezTo>
                  <a:cubicBezTo>
                    <a:pt x="2128" y="2455"/>
                    <a:pt x="2114" y="2487"/>
                    <a:pt x="2074" y="2640"/>
                  </a:cubicBezTo>
                  <a:cubicBezTo>
                    <a:pt x="2020" y="2847"/>
                    <a:pt x="2008" y="2872"/>
                    <a:pt x="1972" y="2872"/>
                  </a:cubicBezTo>
                  <a:cubicBezTo>
                    <a:pt x="1916" y="2871"/>
                    <a:pt x="1906" y="2851"/>
                    <a:pt x="1925" y="2779"/>
                  </a:cubicBezTo>
                  <a:cubicBezTo>
                    <a:pt x="1946" y="2704"/>
                    <a:pt x="1932" y="2680"/>
                    <a:pt x="1864" y="2680"/>
                  </a:cubicBezTo>
                  <a:cubicBezTo>
                    <a:pt x="1823" y="2680"/>
                    <a:pt x="1472" y="2885"/>
                    <a:pt x="1461" y="2917"/>
                  </a:cubicBezTo>
                  <a:cubicBezTo>
                    <a:pt x="1455" y="2930"/>
                    <a:pt x="1464" y="2978"/>
                    <a:pt x="1480" y="3024"/>
                  </a:cubicBezTo>
                  <a:cubicBezTo>
                    <a:pt x="1496" y="3071"/>
                    <a:pt x="1504" y="3115"/>
                    <a:pt x="1498" y="3125"/>
                  </a:cubicBezTo>
                  <a:cubicBezTo>
                    <a:pt x="1493" y="3135"/>
                    <a:pt x="1463" y="3149"/>
                    <a:pt x="1432" y="3160"/>
                  </a:cubicBezTo>
                  <a:cubicBezTo>
                    <a:pt x="1402" y="3170"/>
                    <a:pt x="1376" y="3184"/>
                    <a:pt x="1376" y="3192"/>
                  </a:cubicBezTo>
                  <a:cubicBezTo>
                    <a:pt x="1376" y="3202"/>
                    <a:pt x="1290" y="3208"/>
                    <a:pt x="1181" y="3208"/>
                  </a:cubicBezTo>
                  <a:cubicBezTo>
                    <a:pt x="1012" y="3208"/>
                    <a:pt x="978" y="3213"/>
                    <a:pt x="936" y="3240"/>
                  </a:cubicBezTo>
                  <a:cubicBezTo>
                    <a:pt x="876" y="3280"/>
                    <a:pt x="868" y="3280"/>
                    <a:pt x="845" y="3232"/>
                  </a:cubicBezTo>
                  <a:close/>
                </a:path>
              </a:pathLst>
            </a:custGeom>
            <a:solidFill>
              <a:srgbClr val="E1EFF6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81" name="г. Москва">
              <a:extLst>
                <a:ext uri="{FF2B5EF4-FFF2-40B4-BE49-F238E27FC236}">
                  <a16:creationId xmlns="" xmlns:a16="http://schemas.microsoft.com/office/drawing/2014/main" id="{00000000-0008-0000-0300-000058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9525" y="5299961"/>
              <a:ext cx="110363" cy="110582"/>
            </a:xfrm>
            <a:custGeom>
              <a:avLst/>
              <a:gdLst>
                <a:gd name="T0" fmla="*/ 10 w 11"/>
                <a:gd name="T1" fmla="*/ 160 h 12"/>
                <a:gd name="T2" fmla="*/ 0 w 11"/>
                <a:gd name="T3" fmla="*/ 75 h 12"/>
                <a:gd name="T4" fmla="*/ 70 w 11"/>
                <a:gd name="T5" fmla="*/ 13 h 12"/>
                <a:gd name="T6" fmla="*/ 176 w 11"/>
                <a:gd name="T7" fmla="*/ 86 h 12"/>
                <a:gd name="T8" fmla="*/ 85 w 11"/>
                <a:gd name="T9" fmla="*/ 179 h 12"/>
                <a:gd name="T10" fmla="*/ 10 w 11"/>
                <a:gd name="T11" fmla="*/ 16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12"/>
                <a:gd name="T20" fmla="*/ 176 w 11"/>
                <a:gd name="T21" fmla="*/ 19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12">
                  <a:moveTo>
                    <a:pt x="1" y="10"/>
                  </a:moveTo>
                  <a:cubicBezTo>
                    <a:pt x="0" y="9"/>
                    <a:pt x="0" y="6"/>
                    <a:pt x="0" y="5"/>
                  </a:cubicBezTo>
                  <a:cubicBezTo>
                    <a:pt x="0" y="2"/>
                    <a:pt x="0" y="2"/>
                    <a:pt x="4" y="1"/>
                  </a:cubicBezTo>
                  <a:cubicBezTo>
                    <a:pt x="10" y="0"/>
                    <a:pt x="11" y="1"/>
                    <a:pt x="11" y="5"/>
                  </a:cubicBezTo>
                  <a:cubicBezTo>
                    <a:pt x="11" y="10"/>
                    <a:pt x="11" y="10"/>
                    <a:pt x="5" y="11"/>
                  </a:cubicBezTo>
                  <a:cubicBezTo>
                    <a:pt x="2" y="12"/>
                    <a:pt x="1" y="12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lose/>
                </a:path>
              </a:pathLst>
            </a:custGeom>
            <a:solidFill>
              <a:srgbClr val="153255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82" name="Московская область">
              <a:extLst>
                <a:ext uri="{FF2B5EF4-FFF2-40B4-BE49-F238E27FC236}">
                  <a16:creationId xmlns="" xmlns:a16="http://schemas.microsoft.com/office/drawing/2014/main" id="{00000000-0008-0000-0300-0000590600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68864" y="5088012"/>
              <a:ext cx="521718" cy="552910"/>
            </a:xfrm>
            <a:custGeom>
              <a:avLst/>
              <a:gdLst/>
              <a:ahLst/>
              <a:cxnLst>
                <a:cxn ang="0">
                  <a:pos x="236" y="958"/>
                </a:cxn>
                <a:cxn ang="0">
                  <a:pos x="250" y="900"/>
                </a:cxn>
                <a:cxn ang="0">
                  <a:pos x="215" y="729"/>
                </a:cxn>
                <a:cxn ang="0">
                  <a:pos x="170" y="534"/>
                </a:cxn>
                <a:cxn ang="0">
                  <a:pos x="96" y="345"/>
                </a:cxn>
                <a:cxn ang="0">
                  <a:pos x="34" y="289"/>
                </a:cxn>
                <a:cxn ang="0">
                  <a:pos x="0" y="233"/>
                </a:cxn>
                <a:cxn ang="0">
                  <a:pos x="53" y="137"/>
                </a:cxn>
                <a:cxn ang="0">
                  <a:pos x="162" y="25"/>
                </a:cxn>
                <a:cxn ang="0">
                  <a:pos x="327" y="59"/>
                </a:cxn>
                <a:cxn ang="0">
                  <a:pos x="522" y="139"/>
                </a:cxn>
                <a:cxn ang="0">
                  <a:pos x="722" y="281"/>
                </a:cxn>
                <a:cxn ang="0">
                  <a:pos x="648" y="400"/>
                </a:cxn>
                <a:cxn ang="0">
                  <a:pos x="629" y="572"/>
                </a:cxn>
                <a:cxn ang="0">
                  <a:pos x="693" y="673"/>
                </a:cxn>
                <a:cxn ang="0">
                  <a:pos x="708" y="817"/>
                </a:cxn>
                <a:cxn ang="0">
                  <a:pos x="560" y="904"/>
                </a:cxn>
                <a:cxn ang="0">
                  <a:pos x="343" y="945"/>
                </a:cxn>
                <a:cxn ang="0">
                  <a:pos x="236" y="958"/>
                </a:cxn>
                <a:cxn ang="0">
                  <a:pos x="434" y="587"/>
                </a:cxn>
                <a:cxn ang="0">
                  <a:pos x="538" y="558"/>
                </a:cxn>
                <a:cxn ang="0">
                  <a:pos x="543" y="472"/>
                </a:cxn>
                <a:cxn ang="0">
                  <a:pos x="394" y="342"/>
                </a:cxn>
                <a:cxn ang="0">
                  <a:pos x="282" y="353"/>
                </a:cxn>
                <a:cxn ang="0">
                  <a:pos x="287" y="465"/>
                </a:cxn>
                <a:cxn ang="0">
                  <a:pos x="317" y="617"/>
                </a:cxn>
                <a:cxn ang="0">
                  <a:pos x="434" y="587"/>
                </a:cxn>
              </a:cxnLst>
              <a:rect l="0" t="0" r="r" b="b"/>
              <a:pathLst>
                <a:path w="832" h="961">
                  <a:moveTo>
                    <a:pt x="236" y="958"/>
                  </a:moveTo>
                  <a:cubicBezTo>
                    <a:pt x="232" y="953"/>
                    <a:pt x="239" y="928"/>
                    <a:pt x="250" y="900"/>
                  </a:cubicBezTo>
                  <a:cubicBezTo>
                    <a:pt x="269" y="854"/>
                    <a:pt x="266" y="841"/>
                    <a:pt x="215" y="729"/>
                  </a:cubicBezTo>
                  <a:cubicBezTo>
                    <a:pt x="168" y="627"/>
                    <a:pt x="160" y="598"/>
                    <a:pt x="170" y="534"/>
                  </a:cubicBezTo>
                  <a:cubicBezTo>
                    <a:pt x="181" y="446"/>
                    <a:pt x="141" y="345"/>
                    <a:pt x="96" y="345"/>
                  </a:cubicBezTo>
                  <a:cubicBezTo>
                    <a:pt x="82" y="345"/>
                    <a:pt x="53" y="320"/>
                    <a:pt x="34" y="289"/>
                  </a:cubicBezTo>
                  <a:lnTo>
                    <a:pt x="0" y="233"/>
                  </a:lnTo>
                  <a:lnTo>
                    <a:pt x="53" y="137"/>
                  </a:lnTo>
                  <a:cubicBezTo>
                    <a:pt x="96" y="59"/>
                    <a:pt x="116" y="38"/>
                    <a:pt x="162" y="25"/>
                  </a:cubicBezTo>
                  <a:cubicBezTo>
                    <a:pt x="253" y="0"/>
                    <a:pt x="285" y="6"/>
                    <a:pt x="327" y="59"/>
                  </a:cubicBezTo>
                  <a:cubicBezTo>
                    <a:pt x="362" y="104"/>
                    <a:pt x="383" y="112"/>
                    <a:pt x="522" y="139"/>
                  </a:cubicBezTo>
                  <a:cubicBezTo>
                    <a:pt x="722" y="177"/>
                    <a:pt x="832" y="256"/>
                    <a:pt x="722" y="281"/>
                  </a:cubicBezTo>
                  <a:cubicBezTo>
                    <a:pt x="693" y="288"/>
                    <a:pt x="677" y="313"/>
                    <a:pt x="648" y="400"/>
                  </a:cubicBezTo>
                  <a:cubicBezTo>
                    <a:pt x="615" y="496"/>
                    <a:pt x="613" y="518"/>
                    <a:pt x="629" y="572"/>
                  </a:cubicBezTo>
                  <a:cubicBezTo>
                    <a:pt x="639" y="606"/>
                    <a:pt x="668" y="652"/>
                    <a:pt x="693" y="673"/>
                  </a:cubicBezTo>
                  <a:cubicBezTo>
                    <a:pt x="746" y="716"/>
                    <a:pt x="748" y="731"/>
                    <a:pt x="708" y="817"/>
                  </a:cubicBezTo>
                  <a:cubicBezTo>
                    <a:pt x="679" y="881"/>
                    <a:pt x="676" y="883"/>
                    <a:pt x="560" y="904"/>
                  </a:cubicBezTo>
                  <a:cubicBezTo>
                    <a:pt x="495" y="915"/>
                    <a:pt x="397" y="934"/>
                    <a:pt x="343" y="945"/>
                  </a:cubicBezTo>
                  <a:cubicBezTo>
                    <a:pt x="288" y="956"/>
                    <a:pt x="240" y="961"/>
                    <a:pt x="236" y="958"/>
                  </a:cubicBezTo>
                  <a:close/>
                  <a:moveTo>
                    <a:pt x="434" y="587"/>
                  </a:moveTo>
                  <a:lnTo>
                    <a:pt x="538" y="558"/>
                  </a:lnTo>
                  <a:lnTo>
                    <a:pt x="543" y="472"/>
                  </a:lnTo>
                  <a:cubicBezTo>
                    <a:pt x="549" y="345"/>
                    <a:pt x="532" y="329"/>
                    <a:pt x="394" y="342"/>
                  </a:cubicBezTo>
                  <a:lnTo>
                    <a:pt x="282" y="353"/>
                  </a:lnTo>
                  <a:lnTo>
                    <a:pt x="287" y="465"/>
                  </a:lnTo>
                  <a:cubicBezTo>
                    <a:pt x="292" y="584"/>
                    <a:pt x="298" y="617"/>
                    <a:pt x="317" y="617"/>
                  </a:cubicBezTo>
                  <a:cubicBezTo>
                    <a:pt x="325" y="617"/>
                    <a:pt x="376" y="603"/>
                    <a:pt x="434" y="587"/>
                  </a:cubicBezTo>
                  <a:close/>
                </a:path>
              </a:pathLst>
            </a:custGeom>
            <a:solidFill>
              <a:srgbClr val="22528C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83" name="Мурманская область">
              <a:extLst>
                <a:ext uri="{FF2B5EF4-FFF2-40B4-BE49-F238E27FC236}">
                  <a16:creationId xmlns="" xmlns:a16="http://schemas.microsoft.com/office/drawing/2014/main" id="{00000000-0008-0000-0300-00005A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3721" y="2775002"/>
              <a:ext cx="862842" cy="1032100"/>
            </a:xfrm>
            <a:custGeom>
              <a:avLst/>
              <a:gdLst/>
              <a:ahLst/>
              <a:cxnLst>
                <a:cxn ang="0">
                  <a:pos x="911" y="1739"/>
                </a:cxn>
                <a:cxn ang="0">
                  <a:pos x="688" y="1544"/>
                </a:cxn>
                <a:cxn ang="0">
                  <a:pos x="495" y="1004"/>
                </a:cxn>
                <a:cxn ang="0">
                  <a:pos x="432" y="820"/>
                </a:cxn>
                <a:cxn ang="0">
                  <a:pos x="332" y="896"/>
                </a:cxn>
                <a:cxn ang="0">
                  <a:pos x="224" y="977"/>
                </a:cxn>
                <a:cxn ang="0">
                  <a:pos x="194" y="876"/>
                </a:cxn>
                <a:cxn ang="0">
                  <a:pos x="173" y="782"/>
                </a:cxn>
                <a:cxn ang="0">
                  <a:pos x="69" y="705"/>
                </a:cxn>
                <a:cxn ang="0">
                  <a:pos x="29" y="585"/>
                </a:cxn>
                <a:cxn ang="0">
                  <a:pos x="194" y="512"/>
                </a:cxn>
                <a:cxn ang="0">
                  <a:pos x="368" y="390"/>
                </a:cxn>
                <a:cxn ang="0">
                  <a:pos x="471" y="81"/>
                </a:cxn>
                <a:cxn ang="0">
                  <a:pos x="872" y="17"/>
                </a:cxn>
                <a:cxn ang="0">
                  <a:pos x="1162" y="89"/>
                </a:cxn>
                <a:cxn ang="0">
                  <a:pos x="1114" y="129"/>
                </a:cxn>
                <a:cxn ang="0">
                  <a:pos x="1056" y="152"/>
                </a:cxn>
                <a:cxn ang="0">
                  <a:pos x="1180" y="513"/>
                </a:cxn>
                <a:cxn ang="0">
                  <a:pos x="1284" y="865"/>
                </a:cxn>
                <a:cxn ang="0">
                  <a:pos x="1340" y="1160"/>
                </a:cxn>
                <a:cxn ang="0">
                  <a:pos x="1341" y="1561"/>
                </a:cxn>
                <a:cxn ang="0">
                  <a:pos x="1314" y="1721"/>
                </a:cxn>
                <a:cxn ang="0">
                  <a:pos x="1218" y="1747"/>
                </a:cxn>
                <a:cxn ang="0">
                  <a:pos x="911" y="1739"/>
                </a:cxn>
              </a:cxnLst>
              <a:rect l="0" t="0" r="r" b="b"/>
              <a:pathLst>
                <a:path w="1376" h="1784">
                  <a:moveTo>
                    <a:pt x="911" y="1739"/>
                  </a:moveTo>
                  <a:cubicBezTo>
                    <a:pt x="810" y="1697"/>
                    <a:pt x="778" y="1668"/>
                    <a:pt x="688" y="1544"/>
                  </a:cubicBezTo>
                  <a:cubicBezTo>
                    <a:pt x="597" y="1416"/>
                    <a:pt x="528" y="1225"/>
                    <a:pt x="495" y="1004"/>
                  </a:cubicBezTo>
                  <a:cubicBezTo>
                    <a:pt x="469" y="844"/>
                    <a:pt x="463" y="824"/>
                    <a:pt x="432" y="820"/>
                  </a:cubicBezTo>
                  <a:cubicBezTo>
                    <a:pt x="408" y="817"/>
                    <a:pt x="380" y="838"/>
                    <a:pt x="332" y="896"/>
                  </a:cubicBezTo>
                  <a:cubicBezTo>
                    <a:pt x="284" y="952"/>
                    <a:pt x="252" y="977"/>
                    <a:pt x="224" y="977"/>
                  </a:cubicBezTo>
                  <a:cubicBezTo>
                    <a:pt x="173" y="977"/>
                    <a:pt x="164" y="948"/>
                    <a:pt x="194" y="876"/>
                  </a:cubicBezTo>
                  <a:cubicBezTo>
                    <a:pt x="216" y="820"/>
                    <a:pt x="216" y="819"/>
                    <a:pt x="173" y="782"/>
                  </a:cubicBezTo>
                  <a:cubicBezTo>
                    <a:pt x="149" y="761"/>
                    <a:pt x="101" y="726"/>
                    <a:pt x="69" y="705"/>
                  </a:cubicBezTo>
                  <a:cubicBezTo>
                    <a:pt x="5" y="662"/>
                    <a:pt x="0" y="648"/>
                    <a:pt x="29" y="585"/>
                  </a:cubicBezTo>
                  <a:cubicBezTo>
                    <a:pt x="48" y="542"/>
                    <a:pt x="53" y="539"/>
                    <a:pt x="194" y="512"/>
                  </a:cubicBezTo>
                  <a:cubicBezTo>
                    <a:pt x="322" y="488"/>
                    <a:pt x="356" y="464"/>
                    <a:pt x="368" y="390"/>
                  </a:cubicBezTo>
                  <a:cubicBezTo>
                    <a:pt x="408" y="160"/>
                    <a:pt x="428" y="100"/>
                    <a:pt x="471" y="81"/>
                  </a:cubicBezTo>
                  <a:cubicBezTo>
                    <a:pt x="628" y="9"/>
                    <a:pt x="680" y="0"/>
                    <a:pt x="872" y="17"/>
                  </a:cubicBezTo>
                  <a:cubicBezTo>
                    <a:pt x="1157" y="43"/>
                    <a:pt x="1162" y="44"/>
                    <a:pt x="1162" y="89"/>
                  </a:cubicBezTo>
                  <a:cubicBezTo>
                    <a:pt x="1162" y="123"/>
                    <a:pt x="1154" y="129"/>
                    <a:pt x="1114" y="129"/>
                  </a:cubicBezTo>
                  <a:cubicBezTo>
                    <a:pt x="1087" y="129"/>
                    <a:pt x="1061" y="139"/>
                    <a:pt x="1056" y="152"/>
                  </a:cubicBezTo>
                  <a:cubicBezTo>
                    <a:pt x="1040" y="192"/>
                    <a:pt x="1096" y="353"/>
                    <a:pt x="1180" y="513"/>
                  </a:cubicBezTo>
                  <a:cubicBezTo>
                    <a:pt x="1255" y="656"/>
                    <a:pt x="1261" y="676"/>
                    <a:pt x="1284" y="865"/>
                  </a:cubicBezTo>
                  <a:cubicBezTo>
                    <a:pt x="1296" y="974"/>
                    <a:pt x="1322" y="1107"/>
                    <a:pt x="1340" y="1160"/>
                  </a:cubicBezTo>
                  <a:cubicBezTo>
                    <a:pt x="1376" y="1273"/>
                    <a:pt x="1376" y="1350"/>
                    <a:pt x="1341" y="1561"/>
                  </a:cubicBezTo>
                  <a:lnTo>
                    <a:pt x="1314" y="1721"/>
                  </a:lnTo>
                  <a:lnTo>
                    <a:pt x="1218" y="1747"/>
                  </a:lnTo>
                  <a:cubicBezTo>
                    <a:pt x="1090" y="1784"/>
                    <a:pt x="1010" y="1780"/>
                    <a:pt x="911" y="1739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84" name="Ненецкий автономный округ">
              <a:extLst>
                <a:ext uri="{FF2B5EF4-FFF2-40B4-BE49-F238E27FC236}">
                  <a16:creationId xmlns="" xmlns:a16="http://schemas.microsoft.com/office/drawing/2014/main" id="{00000000-0008-0000-0300-00005B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6860" y="3668874"/>
              <a:ext cx="1896245" cy="986024"/>
            </a:xfrm>
            <a:custGeom>
              <a:avLst/>
              <a:gdLst/>
              <a:ahLst/>
              <a:cxnLst>
                <a:cxn ang="0">
                  <a:pos x="1957" y="1562"/>
                </a:cxn>
                <a:cxn ang="0">
                  <a:pos x="1354" y="1240"/>
                </a:cxn>
                <a:cxn ang="0">
                  <a:pos x="1067" y="1085"/>
                </a:cxn>
                <a:cxn ang="0">
                  <a:pos x="331" y="1088"/>
                </a:cxn>
                <a:cxn ang="0">
                  <a:pos x="210" y="1071"/>
                </a:cxn>
                <a:cxn ang="0">
                  <a:pos x="96" y="866"/>
                </a:cxn>
                <a:cxn ang="0">
                  <a:pos x="18" y="661"/>
                </a:cxn>
                <a:cxn ang="0">
                  <a:pos x="94" y="613"/>
                </a:cxn>
                <a:cxn ang="0">
                  <a:pos x="147" y="579"/>
                </a:cxn>
                <a:cxn ang="0">
                  <a:pos x="138" y="469"/>
                </a:cxn>
                <a:cxn ang="0">
                  <a:pos x="126" y="360"/>
                </a:cxn>
                <a:cxn ang="0">
                  <a:pos x="195" y="330"/>
                </a:cxn>
                <a:cxn ang="0">
                  <a:pos x="432" y="71"/>
                </a:cxn>
                <a:cxn ang="0">
                  <a:pos x="446" y="16"/>
                </a:cxn>
                <a:cxn ang="0">
                  <a:pos x="578" y="147"/>
                </a:cxn>
                <a:cxn ang="0">
                  <a:pos x="578" y="335"/>
                </a:cxn>
                <a:cxn ang="0">
                  <a:pos x="464" y="335"/>
                </a:cxn>
                <a:cxn ang="0">
                  <a:pos x="312" y="341"/>
                </a:cxn>
                <a:cxn ang="0">
                  <a:pos x="229" y="402"/>
                </a:cxn>
                <a:cxn ang="0">
                  <a:pos x="269" y="707"/>
                </a:cxn>
                <a:cxn ang="0">
                  <a:pos x="480" y="792"/>
                </a:cxn>
                <a:cxn ang="0">
                  <a:pos x="592" y="704"/>
                </a:cxn>
                <a:cxn ang="0">
                  <a:pos x="678" y="616"/>
                </a:cxn>
                <a:cxn ang="0">
                  <a:pos x="1131" y="616"/>
                </a:cxn>
                <a:cxn ang="0">
                  <a:pos x="1590" y="631"/>
                </a:cxn>
                <a:cxn ang="0">
                  <a:pos x="1512" y="695"/>
                </a:cxn>
                <a:cxn ang="0">
                  <a:pos x="1413" y="770"/>
                </a:cxn>
                <a:cxn ang="0">
                  <a:pos x="1560" y="935"/>
                </a:cxn>
                <a:cxn ang="0">
                  <a:pos x="1678" y="917"/>
                </a:cxn>
                <a:cxn ang="0">
                  <a:pos x="1920" y="920"/>
                </a:cxn>
                <a:cxn ang="0">
                  <a:pos x="2122" y="941"/>
                </a:cxn>
                <a:cxn ang="0">
                  <a:pos x="2243" y="931"/>
                </a:cxn>
                <a:cxn ang="0">
                  <a:pos x="2232" y="1005"/>
                </a:cxn>
                <a:cxn ang="0">
                  <a:pos x="2266" y="1098"/>
                </a:cxn>
                <a:cxn ang="0">
                  <a:pos x="2496" y="1071"/>
                </a:cxn>
                <a:cxn ang="0">
                  <a:pos x="2565" y="1024"/>
                </a:cxn>
                <a:cxn ang="0">
                  <a:pos x="2555" y="917"/>
                </a:cxn>
                <a:cxn ang="0">
                  <a:pos x="2571" y="784"/>
                </a:cxn>
                <a:cxn ang="0">
                  <a:pos x="2843" y="899"/>
                </a:cxn>
                <a:cxn ang="0">
                  <a:pos x="2962" y="1018"/>
                </a:cxn>
                <a:cxn ang="0">
                  <a:pos x="3013" y="1098"/>
                </a:cxn>
                <a:cxn ang="0">
                  <a:pos x="2979" y="1144"/>
                </a:cxn>
                <a:cxn ang="0">
                  <a:pos x="2987" y="1315"/>
                </a:cxn>
                <a:cxn ang="0">
                  <a:pos x="3018" y="1427"/>
                </a:cxn>
                <a:cxn ang="0">
                  <a:pos x="2955" y="1418"/>
                </a:cxn>
                <a:cxn ang="0">
                  <a:pos x="2845" y="1464"/>
                </a:cxn>
                <a:cxn ang="0">
                  <a:pos x="2718" y="1546"/>
                </a:cxn>
                <a:cxn ang="0">
                  <a:pos x="2586" y="1615"/>
                </a:cxn>
                <a:cxn ang="0">
                  <a:pos x="2422" y="1695"/>
                </a:cxn>
                <a:cxn ang="0">
                  <a:pos x="2318" y="1719"/>
                </a:cxn>
                <a:cxn ang="0">
                  <a:pos x="1957" y="1562"/>
                </a:cxn>
              </a:cxnLst>
              <a:rect l="0" t="0" r="r" b="b"/>
              <a:pathLst>
                <a:path w="3024" h="1719">
                  <a:moveTo>
                    <a:pt x="1957" y="1562"/>
                  </a:moveTo>
                  <a:cubicBezTo>
                    <a:pt x="1664" y="1432"/>
                    <a:pt x="1560" y="1378"/>
                    <a:pt x="1354" y="1240"/>
                  </a:cubicBezTo>
                  <a:cubicBezTo>
                    <a:pt x="1165" y="1117"/>
                    <a:pt x="1094" y="1079"/>
                    <a:pt x="1067" y="1085"/>
                  </a:cubicBezTo>
                  <a:cubicBezTo>
                    <a:pt x="1035" y="1093"/>
                    <a:pt x="582" y="1095"/>
                    <a:pt x="331" y="1088"/>
                  </a:cubicBezTo>
                  <a:cubicBezTo>
                    <a:pt x="272" y="1087"/>
                    <a:pt x="218" y="1079"/>
                    <a:pt x="210" y="1071"/>
                  </a:cubicBezTo>
                  <a:cubicBezTo>
                    <a:pt x="202" y="1063"/>
                    <a:pt x="150" y="970"/>
                    <a:pt x="96" y="866"/>
                  </a:cubicBezTo>
                  <a:cubicBezTo>
                    <a:pt x="14" y="714"/>
                    <a:pt x="0" y="674"/>
                    <a:pt x="18" y="661"/>
                  </a:cubicBezTo>
                  <a:cubicBezTo>
                    <a:pt x="30" y="653"/>
                    <a:pt x="64" y="632"/>
                    <a:pt x="94" y="613"/>
                  </a:cubicBezTo>
                  <a:lnTo>
                    <a:pt x="147" y="579"/>
                  </a:lnTo>
                  <a:lnTo>
                    <a:pt x="138" y="469"/>
                  </a:lnTo>
                  <a:lnTo>
                    <a:pt x="126" y="360"/>
                  </a:lnTo>
                  <a:lnTo>
                    <a:pt x="195" y="330"/>
                  </a:lnTo>
                  <a:cubicBezTo>
                    <a:pt x="290" y="290"/>
                    <a:pt x="432" y="133"/>
                    <a:pt x="432" y="71"/>
                  </a:cubicBezTo>
                  <a:cubicBezTo>
                    <a:pt x="432" y="47"/>
                    <a:pt x="438" y="21"/>
                    <a:pt x="446" y="16"/>
                  </a:cubicBezTo>
                  <a:cubicBezTo>
                    <a:pt x="472" y="0"/>
                    <a:pt x="547" y="75"/>
                    <a:pt x="578" y="147"/>
                  </a:cubicBezTo>
                  <a:cubicBezTo>
                    <a:pt x="616" y="239"/>
                    <a:pt x="616" y="299"/>
                    <a:pt x="578" y="335"/>
                  </a:cubicBezTo>
                  <a:cubicBezTo>
                    <a:pt x="547" y="362"/>
                    <a:pt x="542" y="362"/>
                    <a:pt x="464" y="335"/>
                  </a:cubicBezTo>
                  <a:cubicBezTo>
                    <a:pt x="386" y="306"/>
                    <a:pt x="384" y="306"/>
                    <a:pt x="312" y="341"/>
                  </a:cubicBezTo>
                  <a:cubicBezTo>
                    <a:pt x="272" y="360"/>
                    <a:pt x="235" y="387"/>
                    <a:pt x="229" y="402"/>
                  </a:cubicBezTo>
                  <a:cubicBezTo>
                    <a:pt x="219" y="429"/>
                    <a:pt x="251" y="679"/>
                    <a:pt x="269" y="707"/>
                  </a:cubicBezTo>
                  <a:cubicBezTo>
                    <a:pt x="282" y="727"/>
                    <a:pt x="443" y="792"/>
                    <a:pt x="480" y="792"/>
                  </a:cubicBezTo>
                  <a:cubicBezTo>
                    <a:pt x="494" y="792"/>
                    <a:pt x="544" y="752"/>
                    <a:pt x="592" y="704"/>
                  </a:cubicBezTo>
                  <a:lnTo>
                    <a:pt x="678" y="616"/>
                  </a:lnTo>
                  <a:lnTo>
                    <a:pt x="1131" y="616"/>
                  </a:lnTo>
                  <a:cubicBezTo>
                    <a:pt x="1382" y="616"/>
                    <a:pt x="1586" y="623"/>
                    <a:pt x="1590" y="631"/>
                  </a:cubicBezTo>
                  <a:cubicBezTo>
                    <a:pt x="1597" y="639"/>
                    <a:pt x="1560" y="667"/>
                    <a:pt x="1512" y="695"/>
                  </a:cubicBezTo>
                  <a:cubicBezTo>
                    <a:pt x="1462" y="722"/>
                    <a:pt x="1419" y="755"/>
                    <a:pt x="1413" y="770"/>
                  </a:cubicBezTo>
                  <a:cubicBezTo>
                    <a:pt x="1403" y="795"/>
                    <a:pt x="1507" y="914"/>
                    <a:pt x="1560" y="935"/>
                  </a:cubicBezTo>
                  <a:cubicBezTo>
                    <a:pt x="1581" y="943"/>
                    <a:pt x="1624" y="936"/>
                    <a:pt x="1678" y="917"/>
                  </a:cubicBezTo>
                  <a:cubicBezTo>
                    <a:pt x="1787" y="880"/>
                    <a:pt x="1819" y="880"/>
                    <a:pt x="1920" y="920"/>
                  </a:cubicBezTo>
                  <a:cubicBezTo>
                    <a:pt x="1986" y="946"/>
                    <a:pt x="2021" y="949"/>
                    <a:pt x="2122" y="941"/>
                  </a:cubicBezTo>
                  <a:lnTo>
                    <a:pt x="2243" y="931"/>
                  </a:lnTo>
                  <a:lnTo>
                    <a:pt x="2232" y="1005"/>
                  </a:lnTo>
                  <a:cubicBezTo>
                    <a:pt x="2221" y="1075"/>
                    <a:pt x="2222" y="1080"/>
                    <a:pt x="2266" y="1098"/>
                  </a:cubicBezTo>
                  <a:cubicBezTo>
                    <a:pt x="2342" y="1130"/>
                    <a:pt x="2421" y="1120"/>
                    <a:pt x="2496" y="1071"/>
                  </a:cubicBezTo>
                  <a:lnTo>
                    <a:pt x="2565" y="1024"/>
                  </a:lnTo>
                  <a:lnTo>
                    <a:pt x="2555" y="917"/>
                  </a:lnTo>
                  <a:cubicBezTo>
                    <a:pt x="2547" y="832"/>
                    <a:pt x="2552" y="803"/>
                    <a:pt x="2571" y="784"/>
                  </a:cubicBezTo>
                  <a:cubicBezTo>
                    <a:pt x="2597" y="757"/>
                    <a:pt x="2594" y="757"/>
                    <a:pt x="2843" y="899"/>
                  </a:cubicBezTo>
                  <a:cubicBezTo>
                    <a:pt x="2882" y="922"/>
                    <a:pt x="2931" y="970"/>
                    <a:pt x="2962" y="1018"/>
                  </a:cubicBezTo>
                  <a:lnTo>
                    <a:pt x="3013" y="1098"/>
                  </a:lnTo>
                  <a:lnTo>
                    <a:pt x="2979" y="1144"/>
                  </a:lnTo>
                  <a:cubicBezTo>
                    <a:pt x="2936" y="1202"/>
                    <a:pt x="2936" y="1195"/>
                    <a:pt x="2987" y="1315"/>
                  </a:cubicBezTo>
                  <a:cubicBezTo>
                    <a:pt x="3010" y="1371"/>
                    <a:pt x="3024" y="1421"/>
                    <a:pt x="3018" y="1427"/>
                  </a:cubicBezTo>
                  <a:cubicBezTo>
                    <a:pt x="3011" y="1434"/>
                    <a:pt x="2984" y="1429"/>
                    <a:pt x="2955" y="1418"/>
                  </a:cubicBezTo>
                  <a:cubicBezTo>
                    <a:pt x="2906" y="1399"/>
                    <a:pt x="2902" y="1400"/>
                    <a:pt x="2845" y="1464"/>
                  </a:cubicBezTo>
                  <a:cubicBezTo>
                    <a:pt x="2803" y="1511"/>
                    <a:pt x="2765" y="1535"/>
                    <a:pt x="2718" y="1546"/>
                  </a:cubicBezTo>
                  <a:cubicBezTo>
                    <a:pt x="2682" y="1554"/>
                    <a:pt x="2622" y="1586"/>
                    <a:pt x="2586" y="1615"/>
                  </a:cubicBezTo>
                  <a:cubicBezTo>
                    <a:pt x="2546" y="1648"/>
                    <a:pt x="2483" y="1679"/>
                    <a:pt x="2422" y="1695"/>
                  </a:cubicBezTo>
                  <a:cubicBezTo>
                    <a:pt x="2368" y="1709"/>
                    <a:pt x="2322" y="1719"/>
                    <a:pt x="2318" y="1719"/>
                  </a:cubicBezTo>
                  <a:cubicBezTo>
                    <a:pt x="2315" y="1719"/>
                    <a:pt x="2152" y="1647"/>
                    <a:pt x="1957" y="1562"/>
                  </a:cubicBezTo>
                  <a:close/>
                </a:path>
              </a:pathLst>
            </a:custGeom>
            <a:solidFill>
              <a:srgbClr val="E1EFF6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85" name="Нижегородская область">
              <a:extLst>
                <a:ext uri="{FF2B5EF4-FFF2-40B4-BE49-F238E27FC236}">
                  <a16:creationId xmlns="" xmlns:a16="http://schemas.microsoft.com/office/drawing/2014/main" id="{00000000-0008-0000-0300-00005C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0847" y="5530340"/>
              <a:ext cx="933073" cy="552910"/>
            </a:xfrm>
            <a:custGeom>
              <a:avLst/>
              <a:gdLst/>
              <a:ahLst/>
              <a:cxnLst>
                <a:cxn ang="0">
                  <a:pos x="317" y="889"/>
                </a:cxn>
                <a:cxn ang="0">
                  <a:pos x="269" y="694"/>
                </a:cxn>
                <a:cxn ang="0">
                  <a:pos x="261" y="576"/>
                </a:cxn>
                <a:cxn ang="0">
                  <a:pos x="163" y="547"/>
                </a:cxn>
                <a:cxn ang="0">
                  <a:pos x="18" y="416"/>
                </a:cxn>
                <a:cxn ang="0">
                  <a:pos x="253" y="294"/>
                </a:cxn>
                <a:cxn ang="0">
                  <a:pos x="503" y="145"/>
                </a:cxn>
                <a:cxn ang="0">
                  <a:pos x="607" y="120"/>
                </a:cxn>
                <a:cxn ang="0">
                  <a:pos x="714" y="99"/>
                </a:cxn>
                <a:cxn ang="0">
                  <a:pos x="896" y="49"/>
                </a:cxn>
                <a:cxn ang="0">
                  <a:pos x="1066" y="19"/>
                </a:cxn>
                <a:cxn ang="0">
                  <a:pos x="1175" y="38"/>
                </a:cxn>
                <a:cxn ang="0">
                  <a:pos x="1375" y="181"/>
                </a:cxn>
                <a:cxn ang="0">
                  <a:pos x="1474" y="313"/>
                </a:cxn>
                <a:cxn ang="0">
                  <a:pos x="1319" y="317"/>
                </a:cxn>
                <a:cxn ang="0">
                  <a:pos x="1221" y="389"/>
                </a:cxn>
                <a:cxn ang="0">
                  <a:pos x="1146" y="469"/>
                </a:cxn>
                <a:cxn ang="0">
                  <a:pos x="1103" y="437"/>
                </a:cxn>
                <a:cxn ang="0">
                  <a:pos x="957" y="433"/>
                </a:cxn>
                <a:cxn ang="0">
                  <a:pos x="853" y="462"/>
                </a:cxn>
                <a:cxn ang="0">
                  <a:pos x="848" y="571"/>
                </a:cxn>
                <a:cxn ang="0">
                  <a:pos x="797" y="696"/>
                </a:cxn>
                <a:cxn ang="0">
                  <a:pos x="749" y="797"/>
                </a:cxn>
                <a:cxn ang="0">
                  <a:pos x="707" y="902"/>
                </a:cxn>
                <a:cxn ang="0">
                  <a:pos x="645" y="897"/>
                </a:cxn>
                <a:cxn ang="0">
                  <a:pos x="490" y="918"/>
                </a:cxn>
                <a:cxn ang="0">
                  <a:pos x="373" y="966"/>
                </a:cxn>
                <a:cxn ang="0">
                  <a:pos x="317" y="889"/>
                </a:cxn>
              </a:cxnLst>
              <a:rect l="0" t="0" r="r" b="b"/>
              <a:pathLst>
                <a:path w="1501" h="966">
                  <a:moveTo>
                    <a:pt x="317" y="889"/>
                  </a:moveTo>
                  <a:cubicBezTo>
                    <a:pt x="291" y="838"/>
                    <a:pt x="275" y="776"/>
                    <a:pt x="269" y="694"/>
                  </a:cubicBezTo>
                  <a:lnTo>
                    <a:pt x="261" y="576"/>
                  </a:lnTo>
                  <a:lnTo>
                    <a:pt x="163" y="547"/>
                  </a:lnTo>
                  <a:cubicBezTo>
                    <a:pt x="66" y="518"/>
                    <a:pt x="0" y="461"/>
                    <a:pt x="18" y="416"/>
                  </a:cubicBezTo>
                  <a:cubicBezTo>
                    <a:pt x="23" y="406"/>
                    <a:pt x="128" y="352"/>
                    <a:pt x="253" y="294"/>
                  </a:cubicBezTo>
                  <a:cubicBezTo>
                    <a:pt x="431" y="213"/>
                    <a:pt x="485" y="181"/>
                    <a:pt x="503" y="145"/>
                  </a:cubicBezTo>
                  <a:cubicBezTo>
                    <a:pt x="530" y="96"/>
                    <a:pt x="527" y="96"/>
                    <a:pt x="607" y="120"/>
                  </a:cubicBezTo>
                  <a:cubicBezTo>
                    <a:pt x="663" y="136"/>
                    <a:pt x="671" y="134"/>
                    <a:pt x="714" y="99"/>
                  </a:cubicBezTo>
                  <a:cubicBezTo>
                    <a:pt x="754" y="65"/>
                    <a:pt x="784" y="57"/>
                    <a:pt x="896" y="49"/>
                  </a:cubicBezTo>
                  <a:cubicBezTo>
                    <a:pt x="971" y="45"/>
                    <a:pt x="1047" y="32"/>
                    <a:pt x="1066" y="19"/>
                  </a:cubicBezTo>
                  <a:cubicBezTo>
                    <a:pt x="1098" y="0"/>
                    <a:pt x="1109" y="3"/>
                    <a:pt x="1175" y="38"/>
                  </a:cubicBezTo>
                  <a:cubicBezTo>
                    <a:pt x="1215" y="61"/>
                    <a:pt x="1304" y="125"/>
                    <a:pt x="1375" y="181"/>
                  </a:cubicBezTo>
                  <a:cubicBezTo>
                    <a:pt x="1499" y="278"/>
                    <a:pt x="1501" y="283"/>
                    <a:pt x="1474" y="313"/>
                  </a:cubicBezTo>
                  <a:cubicBezTo>
                    <a:pt x="1447" y="342"/>
                    <a:pt x="1391" y="344"/>
                    <a:pt x="1319" y="317"/>
                  </a:cubicBezTo>
                  <a:cubicBezTo>
                    <a:pt x="1306" y="312"/>
                    <a:pt x="1263" y="344"/>
                    <a:pt x="1221" y="389"/>
                  </a:cubicBezTo>
                  <a:lnTo>
                    <a:pt x="1146" y="469"/>
                  </a:lnTo>
                  <a:lnTo>
                    <a:pt x="1103" y="437"/>
                  </a:lnTo>
                  <a:cubicBezTo>
                    <a:pt x="1063" y="406"/>
                    <a:pt x="1058" y="406"/>
                    <a:pt x="957" y="433"/>
                  </a:cubicBezTo>
                  <a:lnTo>
                    <a:pt x="853" y="462"/>
                  </a:lnTo>
                  <a:lnTo>
                    <a:pt x="848" y="571"/>
                  </a:lnTo>
                  <a:cubicBezTo>
                    <a:pt x="843" y="675"/>
                    <a:pt x="842" y="680"/>
                    <a:pt x="797" y="696"/>
                  </a:cubicBezTo>
                  <a:cubicBezTo>
                    <a:pt x="752" y="712"/>
                    <a:pt x="749" y="718"/>
                    <a:pt x="749" y="797"/>
                  </a:cubicBezTo>
                  <a:cubicBezTo>
                    <a:pt x="749" y="870"/>
                    <a:pt x="744" y="883"/>
                    <a:pt x="707" y="902"/>
                  </a:cubicBezTo>
                  <a:cubicBezTo>
                    <a:pt x="671" y="923"/>
                    <a:pt x="664" y="921"/>
                    <a:pt x="645" y="897"/>
                  </a:cubicBezTo>
                  <a:cubicBezTo>
                    <a:pt x="619" y="861"/>
                    <a:pt x="608" y="862"/>
                    <a:pt x="490" y="918"/>
                  </a:cubicBezTo>
                  <a:cubicBezTo>
                    <a:pt x="435" y="944"/>
                    <a:pt x="381" y="966"/>
                    <a:pt x="373" y="966"/>
                  </a:cubicBezTo>
                  <a:cubicBezTo>
                    <a:pt x="363" y="966"/>
                    <a:pt x="338" y="931"/>
                    <a:pt x="317" y="889"/>
                  </a:cubicBezTo>
                  <a:close/>
                </a:path>
              </a:pathLst>
            </a:custGeom>
            <a:solidFill>
              <a:srgbClr val="3072C2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86" name="Новгородская область">
              <a:extLst>
                <a:ext uri="{FF2B5EF4-FFF2-40B4-BE49-F238E27FC236}">
                  <a16:creationId xmlns="" xmlns:a16="http://schemas.microsoft.com/office/drawing/2014/main" id="{00000000-0008-0000-0300-00005D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8468" y="4295507"/>
              <a:ext cx="702313" cy="479189"/>
            </a:xfrm>
            <a:custGeom>
              <a:avLst/>
              <a:gdLst/>
              <a:ahLst/>
              <a:cxnLst>
                <a:cxn ang="0">
                  <a:pos x="1046" y="794"/>
                </a:cxn>
                <a:cxn ang="0">
                  <a:pos x="926" y="762"/>
                </a:cxn>
                <a:cxn ang="0">
                  <a:pos x="779" y="678"/>
                </a:cxn>
                <a:cxn ang="0">
                  <a:pos x="686" y="587"/>
                </a:cxn>
                <a:cxn ang="0">
                  <a:pos x="619" y="614"/>
                </a:cxn>
                <a:cxn ang="0">
                  <a:pos x="500" y="661"/>
                </a:cxn>
                <a:cxn ang="0">
                  <a:pos x="396" y="654"/>
                </a:cxn>
                <a:cxn ang="0">
                  <a:pos x="222" y="610"/>
                </a:cxn>
                <a:cxn ang="0">
                  <a:pos x="51" y="542"/>
                </a:cxn>
                <a:cxn ang="0">
                  <a:pos x="0" y="493"/>
                </a:cxn>
                <a:cxn ang="0">
                  <a:pos x="105" y="374"/>
                </a:cxn>
                <a:cxn ang="0">
                  <a:pos x="211" y="258"/>
                </a:cxn>
                <a:cxn ang="0">
                  <a:pos x="192" y="195"/>
                </a:cxn>
                <a:cxn ang="0">
                  <a:pos x="174" y="94"/>
                </a:cxn>
                <a:cxn ang="0">
                  <a:pos x="235" y="46"/>
                </a:cxn>
                <a:cxn ang="0">
                  <a:pos x="344" y="18"/>
                </a:cxn>
                <a:cxn ang="0">
                  <a:pos x="428" y="30"/>
                </a:cxn>
                <a:cxn ang="0">
                  <a:pos x="673" y="74"/>
                </a:cxn>
                <a:cxn ang="0">
                  <a:pos x="782" y="182"/>
                </a:cxn>
                <a:cxn ang="0">
                  <a:pos x="846" y="243"/>
                </a:cxn>
                <a:cxn ang="0">
                  <a:pos x="910" y="243"/>
                </a:cxn>
                <a:cxn ang="0">
                  <a:pos x="976" y="382"/>
                </a:cxn>
                <a:cxn ang="0">
                  <a:pos x="1030" y="638"/>
                </a:cxn>
                <a:cxn ang="0">
                  <a:pos x="1033" y="706"/>
                </a:cxn>
                <a:cxn ang="0">
                  <a:pos x="1094" y="747"/>
                </a:cxn>
                <a:cxn ang="0">
                  <a:pos x="1116" y="798"/>
                </a:cxn>
                <a:cxn ang="0">
                  <a:pos x="1110" y="832"/>
                </a:cxn>
                <a:cxn ang="0">
                  <a:pos x="1046" y="794"/>
                </a:cxn>
              </a:cxnLst>
              <a:rect l="0" t="0" r="r" b="b"/>
              <a:pathLst>
                <a:path w="1120" h="832">
                  <a:moveTo>
                    <a:pt x="1046" y="794"/>
                  </a:moveTo>
                  <a:cubicBezTo>
                    <a:pt x="998" y="763"/>
                    <a:pt x="968" y="755"/>
                    <a:pt x="926" y="762"/>
                  </a:cubicBezTo>
                  <a:cubicBezTo>
                    <a:pt x="875" y="770"/>
                    <a:pt x="862" y="762"/>
                    <a:pt x="779" y="678"/>
                  </a:cubicBezTo>
                  <a:lnTo>
                    <a:pt x="686" y="587"/>
                  </a:lnTo>
                  <a:lnTo>
                    <a:pt x="619" y="614"/>
                  </a:lnTo>
                  <a:cubicBezTo>
                    <a:pt x="580" y="629"/>
                    <a:pt x="528" y="650"/>
                    <a:pt x="500" y="661"/>
                  </a:cubicBezTo>
                  <a:cubicBezTo>
                    <a:pt x="459" y="677"/>
                    <a:pt x="441" y="677"/>
                    <a:pt x="396" y="654"/>
                  </a:cubicBezTo>
                  <a:cubicBezTo>
                    <a:pt x="366" y="642"/>
                    <a:pt x="288" y="621"/>
                    <a:pt x="222" y="610"/>
                  </a:cubicBezTo>
                  <a:cubicBezTo>
                    <a:pt x="126" y="594"/>
                    <a:pt x="91" y="581"/>
                    <a:pt x="51" y="542"/>
                  </a:cubicBezTo>
                  <a:lnTo>
                    <a:pt x="0" y="493"/>
                  </a:lnTo>
                  <a:lnTo>
                    <a:pt x="105" y="374"/>
                  </a:lnTo>
                  <a:lnTo>
                    <a:pt x="211" y="258"/>
                  </a:lnTo>
                  <a:lnTo>
                    <a:pt x="192" y="195"/>
                  </a:lnTo>
                  <a:cubicBezTo>
                    <a:pt x="182" y="163"/>
                    <a:pt x="174" y="117"/>
                    <a:pt x="174" y="94"/>
                  </a:cubicBezTo>
                  <a:cubicBezTo>
                    <a:pt x="174" y="59"/>
                    <a:pt x="182" y="53"/>
                    <a:pt x="235" y="46"/>
                  </a:cubicBezTo>
                  <a:cubicBezTo>
                    <a:pt x="267" y="43"/>
                    <a:pt x="316" y="30"/>
                    <a:pt x="344" y="18"/>
                  </a:cubicBezTo>
                  <a:cubicBezTo>
                    <a:pt x="388" y="0"/>
                    <a:pt x="398" y="0"/>
                    <a:pt x="428" y="30"/>
                  </a:cubicBezTo>
                  <a:cubicBezTo>
                    <a:pt x="472" y="69"/>
                    <a:pt x="582" y="90"/>
                    <a:pt x="673" y="74"/>
                  </a:cubicBezTo>
                  <a:cubicBezTo>
                    <a:pt x="750" y="61"/>
                    <a:pt x="780" y="91"/>
                    <a:pt x="782" y="182"/>
                  </a:cubicBezTo>
                  <a:cubicBezTo>
                    <a:pt x="782" y="242"/>
                    <a:pt x="784" y="243"/>
                    <a:pt x="846" y="243"/>
                  </a:cubicBezTo>
                  <a:lnTo>
                    <a:pt x="910" y="243"/>
                  </a:lnTo>
                  <a:lnTo>
                    <a:pt x="976" y="382"/>
                  </a:lnTo>
                  <a:cubicBezTo>
                    <a:pt x="1059" y="563"/>
                    <a:pt x="1064" y="586"/>
                    <a:pt x="1030" y="638"/>
                  </a:cubicBezTo>
                  <a:cubicBezTo>
                    <a:pt x="1003" y="678"/>
                    <a:pt x="1003" y="682"/>
                    <a:pt x="1033" y="706"/>
                  </a:cubicBezTo>
                  <a:cubicBezTo>
                    <a:pt x="1052" y="720"/>
                    <a:pt x="1078" y="738"/>
                    <a:pt x="1094" y="747"/>
                  </a:cubicBezTo>
                  <a:cubicBezTo>
                    <a:pt x="1110" y="757"/>
                    <a:pt x="1120" y="778"/>
                    <a:pt x="1116" y="798"/>
                  </a:cubicBezTo>
                  <a:lnTo>
                    <a:pt x="1110" y="832"/>
                  </a:lnTo>
                  <a:lnTo>
                    <a:pt x="1046" y="794"/>
                  </a:ln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87" name="Новосибирская область">
              <a:extLst>
                <a:ext uri="{FF2B5EF4-FFF2-40B4-BE49-F238E27FC236}">
                  <a16:creationId xmlns="" xmlns:a16="http://schemas.microsoft.com/office/drawing/2014/main" id="{00000000-0008-0000-0300-00005E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3667" y="7115350"/>
              <a:ext cx="1234064" cy="847796"/>
            </a:xfrm>
            <a:custGeom>
              <a:avLst/>
              <a:gdLst/>
              <a:ahLst/>
              <a:cxnLst>
                <a:cxn ang="0">
                  <a:pos x="357" y="6"/>
                </a:cxn>
                <a:cxn ang="0">
                  <a:pos x="354" y="6"/>
                </a:cxn>
                <a:cxn ang="0">
                  <a:pos x="338" y="67"/>
                </a:cxn>
                <a:cxn ang="0">
                  <a:pos x="298" y="158"/>
                </a:cxn>
                <a:cxn ang="0">
                  <a:pos x="256" y="203"/>
                </a:cxn>
                <a:cxn ang="0">
                  <a:pos x="290" y="259"/>
                </a:cxn>
                <a:cxn ang="0">
                  <a:pos x="176" y="373"/>
                </a:cxn>
                <a:cxn ang="0">
                  <a:pos x="71" y="400"/>
                </a:cxn>
                <a:cxn ang="0">
                  <a:pos x="36" y="523"/>
                </a:cxn>
                <a:cxn ang="0">
                  <a:pos x="0" y="645"/>
                </a:cxn>
                <a:cxn ang="0">
                  <a:pos x="55" y="725"/>
                </a:cxn>
                <a:cxn ang="0">
                  <a:pos x="58" y="949"/>
                </a:cxn>
                <a:cxn ang="0">
                  <a:pos x="32" y="1011"/>
                </a:cxn>
                <a:cxn ang="0">
                  <a:pos x="68" y="1003"/>
                </a:cxn>
                <a:cxn ang="0">
                  <a:pos x="183" y="973"/>
                </a:cxn>
                <a:cxn ang="0">
                  <a:pos x="276" y="973"/>
                </a:cxn>
                <a:cxn ang="0">
                  <a:pos x="263" y="1054"/>
                </a:cxn>
                <a:cxn ang="0">
                  <a:pos x="226" y="1139"/>
                </a:cxn>
                <a:cxn ang="0">
                  <a:pos x="327" y="1278"/>
                </a:cxn>
                <a:cxn ang="0">
                  <a:pos x="391" y="1358"/>
                </a:cxn>
                <a:cxn ang="0">
                  <a:pos x="616" y="1302"/>
                </a:cxn>
                <a:cxn ang="0">
                  <a:pos x="960" y="1205"/>
                </a:cxn>
                <a:cxn ang="0">
                  <a:pos x="1128" y="1133"/>
                </a:cxn>
                <a:cxn ang="0">
                  <a:pos x="1216" y="1232"/>
                </a:cxn>
                <a:cxn ang="0">
                  <a:pos x="1364" y="1397"/>
                </a:cxn>
                <a:cxn ang="0">
                  <a:pos x="1423" y="1462"/>
                </a:cxn>
                <a:cxn ang="0">
                  <a:pos x="1504" y="1381"/>
                </a:cxn>
                <a:cxn ang="0">
                  <a:pos x="1586" y="1296"/>
                </a:cxn>
                <a:cxn ang="0">
                  <a:pos x="1730" y="1285"/>
                </a:cxn>
                <a:cxn ang="0">
                  <a:pos x="1968" y="1152"/>
                </a:cxn>
                <a:cxn ang="0">
                  <a:pos x="1904" y="648"/>
                </a:cxn>
                <a:cxn ang="0">
                  <a:pos x="1792" y="686"/>
                </a:cxn>
                <a:cxn ang="0">
                  <a:pos x="1679" y="725"/>
                </a:cxn>
                <a:cxn ang="0">
                  <a:pos x="1640" y="582"/>
                </a:cxn>
                <a:cxn ang="0">
                  <a:pos x="1604" y="445"/>
                </a:cxn>
                <a:cxn ang="0">
                  <a:pos x="1458" y="453"/>
                </a:cxn>
                <a:cxn ang="0">
                  <a:pos x="1303" y="440"/>
                </a:cxn>
                <a:cxn ang="0">
                  <a:pos x="1172" y="397"/>
                </a:cxn>
                <a:cxn ang="0">
                  <a:pos x="1060" y="381"/>
                </a:cxn>
                <a:cxn ang="0">
                  <a:pos x="1004" y="288"/>
                </a:cxn>
                <a:cxn ang="0">
                  <a:pos x="900" y="165"/>
                </a:cxn>
                <a:cxn ang="0">
                  <a:pos x="357" y="6"/>
                </a:cxn>
              </a:cxnLst>
              <a:rect l="0" t="0" r="r" b="b"/>
              <a:pathLst>
                <a:path w="1968" h="1462">
                  <a:moveTo>
                    <a:pt x="357" y="6"/>
                  </a:moveTo>
                  <a:cubicBezTo>
                    <a:pt x="356" y="6"/>
                    <a:pt x="354" y="6"/>
                    <a:pt x="354" y="6"/>
                  </a:cubicBezTo>
                  <a:cubicBezTo>
                    <a:pt x="346" y="11"/>
                    <a:pt x="338" y="40"/>
                    <a:pt x="338" y="67"/>
                  </a:cubicBezTo>
                  <a:cubicBezTo>
                    <a:pt x="338" y="99"/>
                    <a:pt x="324" y="131"/>
                    <a:pt x="298" y="158"/>
                  </a:cubicBezTo>
                  <a:lnTo>
                    <a:pt x="256" y="203"/>
                  </a:lnTo>
                  <a:lnTo>
                    <a:pt x="290" y="259"/>
                  </a:lnTo>
                  <a:cubicBezTo>
                    <a:pt x="330" y="328"/>
                    <a:pt x="322" y="334"/>
                    <a:pt x="176" y="373"/>
                  </a:cubicBezTo>
                  <a:lnTo>
                    <a:pt x="71" y="400"/>
                  </a:lnTo>
                  <a:lnTo>
                    <a:pt x="36" y="523"/>
                  </a:lnTo>
                  <a:lnTo>
                    <a:pt x="0" y="645"/>
                  </a:lnTo>
                  <a:lnTo>
                    <a:pt x="55" y="725"/>
                  </a:lnTo>
                  <a:cubicBezTo>
                    <a:pt x="116" y="809"/>
                    <a:pt x="116" y="817"/>
                    <a:pt x="58" y="949"/>
                  </a:cubicBezTo>
                  <a:lnTo>
                    <a:pt x="32" y="1011"/>
                  </a:lnTo>
                  <a:lnTo>
                    <a:pt x="68" y="1003"/>
                  </a:lnTo>
                  <a:cubicBezTo>
                    <a:pt x="88" y="998"/>
                    <a:pt x="140" y="984"/>
                    <a:pt x="183" y="973"/>
                  </a:cubicBezTo>
                  <a:cubicBezTo>
                    <a:pt x="244" y="955"/>
                    <a:pt x="260" y="957"/>
                    <a:pt x="276" y="973"/>
                  </a:cubicBezTo>
                  <a:cubicBezTo>
                    <a:pt x="292" y="989"/>
                    <a:pt x="292" y="1003"/>
                    <a:pt x="263" y="1054"/>
                  </a:cubicBezTo>
                  <a:cubicBezTo>
                    <a:pt x="242" y="1088"/>
                    <a:pt x="226" y="1128"/>
                    <a:pt x="226" y="1139"/>
                  </a:cubicBezTo>
                  <a:cubicBezTo>
                    <a:pt x="226" y="1150"/>
                    <a:pt x="272" y="1211"/>
                    <a:pt x="327" y="1278"/>
                  </a:cubicBezTo>
                  <a:cubicBezTo>
                    <a:pt x="352" y="1310"/>
                    <a:pt x="373" y="1333"/>
                    <a:pt x="391" y="1358"/>
                  </a:cubicBezTo>
                  <a:cubicBezTo>
                    <a:pt x="463" y="1329"/>
                    <a:pt x="538" y="1315"/>
                    <a:pt x="616" y="1302"/>
                  </a:cubicBezTo>
                  <a:cubicBezTo>
                    <a:pt x="744" y="1281"/>
                    <a:pt x="839" y="1256"/>
                    <a:pt x="960" y="1205"/>
                  </a:cubicBezTo>
                  <a:lnTo>
                    <a:pt x="1128" y="1133"/>
                  </a:lnTo>
                  <a:lnTo>
                    <a:pt x="1216" y="1232"/>
                  </a:lnTo>
                  <a:cubicBezTo>
                    <a:pt x="1264" y="1286"/>
                    <a:pt x="1330" y="1361"/>
                    <a:pt x="1364" y="1397"/>
                  </a:cubicBezTo>
                  <a:lnTo>
                    <a:pt x="1423" y="1462"/>
                  </a:lnTo>
                  <a:lnTo>
                    <a:pt x="1504" y="1381"/>
                  </a:lnTo>
                  <a:lnTo>
                    <a:pt x="1586" y="1296"/>
                  </a:lnTo>
                  <a:lnTo>
                    <a:pt x="1730" y="1285"/>
                  </a:lnTo>
                  <a:cubicBezTo>
                    <a:pt x="1896" y="1272"/>
                    <a:pt x="1968" y="1232"/>
                    <a:pt x="1968" y="1152"/>
                  </a:cubicBezTo>
                  <a:cubicBezTo>
                    <a:pt x="1968" y="1075"/>
                    <a:pt x="1916" y="662"/>
                    <a:pt x="1904" y="648"/>
                  </a:cubicBezTo>
                  <a:cubicBezTo>
                    <a:pt x="1898" y="641"/>
                    <a:pt x="1847" y="657"/>
                    <a:pt x="1792" y="686"/>
                  </a:cubicBezTo>
                  <a:cubicBezTo>
                    <a:pt x="1738" y="713"/>
                    <a:pt x="1687" y="731"/>
                    <a:pt x="1679" y="725"/>
                  </a:cubicBezTo>
                  <a:cubicBezTo>
                    <a:pt x="1671" y="717"/>
                    <a:pt x="1655" y="653"/>
                    <a:pt x="1640" y="582"/>
                  </a:cubicBezTo>
                  <a:cubicBezTo>
                    <a:pt x="1628" y="513"/>
                    <a:pt x="1610" y="451"/>
                    <a:pt x="1604" y="445"/>
                  </a:cubicBezTo>
                  <a:cubicBezTo>
                    <a:pt x="1597" y="438"/>
                    <a:pt x="1532" y="443"/>
                    <a:pt x="1458" y="453"/>
                  </a:cubicBezTo>
                  <a:cubicBezTo>
                    <a:pt x="1338" y="467"/>
                    <a:pt x="1322" y="464"/>
                    <a:pt x="1303" y="440"/>
                  </a:cubicBezTo>
                  <a:cubicBezTo>
                    <a:pt x="1290" y="421"/>
                    <a:pt x="1242" y="408"/>
                    <a:pt x="1172" y="397"/>
                  </a:cubicBezTo>
                  <a:lnTo>
                    <a:pt x="1060" y="381"/>
                  </a:lnTo>
                  <a:lnTo>
                    <a:pt x="1004" y="288"/>
                  </a:lnTo>
                  <a:cubicBezTo>
                    <a:pt x="975" y="238"/>
                    <a:pt x="928" y="184"/>
                    <a:pt x="900" y="165"/>
                  </a:cubicBezTo>
                  <a:cubicBezTo>
                    <a:pt x="845" y="126"/>
                    <a:pt x="405" y="0"/>
                    <a:pt x="357" y="6"/>
                  </a:cubicBezTo>
                  <a:close/>
                </a:path>
              </a:pathLst>
            </a:custGeom>
            <a:solidFill>
              <a:srgbClr val="22528C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88" name="Омская область">
              <a:extLst>
                <a:ext uri="{FF2B5EF4-FFF2-40B4-BE49-F238E27FC236}">
                  <a16:creationId xmlns="" xmlns:a16="http://schemas.microsoft.com/office/drawing/2014/main" id="{00000000-0008-0000-0300-00005F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01817" y="6728312"/>
              <a:ext cx="762511" cy="1050530"/>
            </a:xfrm>
            <a:custGeom>
              <a:avLst/>
              <a:gdLst/>
              <a:ahLst/>
              <a:cxnLst>
                <a:cxn ang="0">
                  <a:pos x="411" y="1782"/>
                </a:cxn>
                <a:cxn ang="0">
                  <a:pos x="412" y="1710"/>
                </a:cxn>
                <a:cxn ang="0">
                  <a:pos x="283" y="1539"/>
                </a:cxn>
                <a:cxn ang="0">
                  <a:pos x="126" y="1481"/>
                </a:cxn>
                <a:cxn ang="0">
                  <a:pos x="52" y="1462"/>
                </a:cxn>
                <a:cxn ang="0">
                  <a:pos x="19" y="1219"/>
                </a:cxn>
                <a:cxn ang="0">
                  <a:pos x="0" y="1000"/>
                </a:cxn>
                <a:cxn ang="0">
                  <a:pos x="78" y="843"/>
                </a:cxn>
                <a:cxn ang="0">
                  <a:pos x="155" y="686"/>
                </a:cxn>
                <a:cxn ang="0">
                  <a:pos x="347" y="638"/>
                </a:cxn>
                <a:cxn ang="0">
                  <a:pos x="344" y="542"/>
                </a:cxn>
                <a:cxn ang="0">
                  <a:pos x="251" y="336"/>
                </a:cxn>
                <a:cxn ang="0">
                  <a:pos x="182" y="246"/>
                </a:cxn>
                <a:cxn ang="0">
                  <a:pos x="232" y="86"/>
                </a:cxn>
                <a:cxn ang="0">
                  <a:pos x="299" y="3"/>
                </a:cxn>
                <a:cxn ang="0">
                  <a:pos x="337" y="70"/>
                </a:cxn>
                <a:cxn ang="0">
                  <a:pos x="571" y="188"/>
                </a:cxn>
                <a:cxn ang="0">
                  <a:pos x="808" y="222"/>
                </a:cxn>
                <a:cxn ang="0">
                  <a:pos x="1019" y="192"/>
                </a:cxn>
                <a:cxn ang="0">
                  <a:pos x="1097" y="150"/>
                </a:cxn>
                <a:cxn ang="0">
                  <a:pos x="1089" y="208"/>
                </a:cxn>
                <a:cxn ang="0">
                  <a:pos x="1139" y="449"/>
                </a:cxn>
                <a:cxn ang="0">
                  <a:pos x="1152" y="816"/>
                </a:cxn>
                <a:cxn ang="0">
                  <a:pos x="1128" y="921"/>
                </a:cxn>
                <a:cxn ang="0">
                  <a:pos x="1148" y="980"/>
                </a:cxn>
                <a:cxn ang="0">
                  <a:pos x="1052" y="1012"/>
                </a:cxn>
                <a:cxn ang="0">
                  <a:pos x="944" y="1052"/>
                </a:cxn>
                <a:cxn ang="0">
                  <a:pos x="886" y="1203"/>
                </a:cxn>
                <a:cxn ang="0">
                  <a:pos x="848" y="1334"/>
                </a:cxn>
                <a:cxn ang="0">
                  <a:pos x="963" y="1494"/>
                </a:cxn>
                <a:cxn ang="0">
                  <a:pos x="931" y="1576"/>
                </a:cxn>
                <a:cxn ang="0">
                  <a:pos x="904" y="1681"/>
                </a:cxn>
                <a:cxn ang="0">
                  <a:pos x="411" y="1782"/>
                </a:cxn>
              </a:cxnLst>
              <a:rect l="0" t="0" r="r" b="b"/>
              <a:pathLst>
                <a:path w="1222" h="1836">
                  <a:moveTo>
                    <a:pt x="411" y="1782"/>
                  </a:moveTo>
                  <a:cubicBezTo>
                    <a:pt x="406" y="1774"/>
                    <a:pt x="406" y="1742"/>
                    <a:pt x="412" y="1710"/>
                  </a:cubicBezTo>
                  <a:cubicBezTo>
                    <a:pt x="425" y="1641"/>
                    <a:pt x="411" y="1620"/>
                    <a:pt x="283" y="1539"/>
                  </a:cubicBezTo>
                  <a:cubicBezTo>
                    <a:pt x="208" y="1489"/>
                    <a:pt x="174" y="1478"/>
                    <a:pt x="126" y="1481"/>
                  </a:cubicBezTo>
                  <a:cubicBezTo>
                    <a:pt x="84" y="1484"/>
                    <a:pt x="60" y="1478"/>
                    <a:pt x="52" y="1462"/>
                  </a:cubicBezTo>
                  <a:cubicBezTo>
                    <a:pt x="44" y="1449"/>
                    <a:pt x="30" y="1340"/>
                    <a:pt x="19" y="1219"/>
                  </a:cubicBezTo>
                  <a:lnTo>
                    <a:pt x="0" y="1000"/>
                  </a:lnTo>
                  <a:lnTo>
                    <a:pt x="78" y="843"/>
                  </a:lnTo>
                  <a:lnTo>
                    <a:pt x="155" y="686"/>
                  </a:lnTo>
                  <a:lnTo>
                    <a:pt x="347" y="638"/>
                  </a:lnTo>
                  <a:lnTo>
                    <a:pt x="344" y="542"/>
                  </a:lnTo>
                  <a:cubicBezTo>
                    <a:pt x="336" y="385"/>
                    <a:pt x="323" y="355"/>
                    <a:pt x="251" y="336"/>
                  </a:cubicBezTo>
                  <a:cubicBezTo>
                    <a:pt x="190" y="318"/>
                    <a:pt x="187" y="315"/>
                    <a:pt x="182" y="246"/>
                  </a:cubicBezTo>
                  <a:cubicBezTo>
                    <a:pt x="179" y="188"/>
                    <a:pt x="188" y="156"/>
                    <a:pt x="232" y="86"/>
                  </a:cubicBezTo>
                  <a:cubicBezTo>
                    <a:pt x="260" y="38"/>
                    <a:pt x="291" y="0"/>
                    <a:pt x="299" y="3"/>
                  </a:cubicBezTo>
                  <a:cubicBezTo>
                    <a:pt x="308" y="4"/>
                    <a:pt x="324" y="35"/>
                    <a:pt x="337" y="70"/>
                  </a:cubicBezTo>
                  <a:cubicBezTo>
                    <a:pt x="360" y="139"/>
                    <a:pt x="350" y="134"/>
                    <a:pt x="571" y="188"/>
                  </a:cubicBezTo>
                  <a:cubicBezTo>
                    <a:pt x="624" y="201"/>
                    <a:pt x="731" y="216"/>
                    <a:pt x="808" y="222"/>
                  </a:cubicBezTo>
                  <a:cubicBezTo>
                    <a:pt x="940" y="232"/>
                    <a:pt x="953" y="230"/>
                    <a:pt x="1019" y="192"/>
                  </a:cubicBezTo>
                  <a:cubicBezTo>
                    <a:pt x="1057" y="169"/>
                    <a:pt x="1092" y="150"/>
                    <a:pt x="1097" y="150"/>
                  </a:cubicBezTo>
                  <a:cubicBezTo>
                    <a:pt x="1102" y="150"/>
                    <a:pt x="1097" y="176"/>
                    <a:pt x="1089" y="208"/>
                  </a:cubicBezTo>
                  <a:cubicBezTo>
                    <a:pt x="1075" y="257"/>
                    <a:pt x="1081" y="289"/>
                    <a:pt x="1139" y="449"/>
                  </a:cubicBezTo>
                  <a:cubicBezTo>
                    <a:pt x="1219" y="676"/>
                    <a:pt x="1222" y="737"/>
                    <a:pt x="1152" y="816"/>
                  </a:cubicBezTo>
                  <a:cubicBezTo>
                    <a:pt x="1102" y="873"/>
                    <a:pt x="1100" y="875"/>
                    <a:pt x="1128" y="921"/>
                  </a:cubicBezTo>
                  <a:cubicBezTo>
                    <a:pt x="1144" y="948"/>
                    <a:pt x="1152" y="974"/>
                    <a:pt x="1148" y="980"/>
                  </a:cubicBezTo>
                  <a:cubicBezTo>
                    <a:pt x="1144" y="987"/>
                    <a:pt x="1100" y="1001"/>
                    <a:pt x="1052" y="1012"/>
                  </a:cubicBezTo>
                  <a:cubicBezTo>
                    <a:pt x="1003" y="1024"/>
                    <a:pt x="955" y="1041"/>
                    <a:pt x="944" y="1052"/>
                  </a:cubicBezTo>
                  <a:cubicBezTo>
                    <a:pt x="932" y="1064"/>
                    <a:pt x="905" y="1131"/>
                    <a:pt x="886" y="1203"/>
                  </a:cubicBezTo>
                  <a:lnTo>
                    <a:pt x="848" y="1334"/>
                  </a:lnTo>
                  <a:lnTo>
                    <a:pt x="963" y="1494"/>
                  </a:lnTo>
                  <a:lnTo>
                    <a:pt x="931" y="1576"/>
                  </a:lnTo>
                  <a:cubicBezTo>
                    <a:pt x="913" y="1620"/>
                    <a:pt x="900" y="1668"/>
                    <a:pt x="904" y="1681"/>
                  </a:cubicBezTo>
                  <a:cubicBezTo>
                    <a:pt x="913" y="1740"/>
                    <a:pt x="444" y="1836"/>
                    <a:pt x="411" y="1782"/>
                  </a:cubicBezTo>
                  <a:close/>
                </a:path>
              </a:pathLst>
            </a:custGeom>
            <a:solidFill>
              <a:srgbClr val="5B93D7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89" name="Оренбургская область">
              <a:extLst>
                <a:ext uri="{FF2B5EF4-FFF2-40B4-BE49-F238E27FC236}">
                  <a16:creationId xmlns="" xmlns:a16="http://schemas.microsoft.com/office/drawing/2014/main" id="{00000000-0008-0000-0300-000060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2697" y="6654592"/>
              <a:ext cx="1254130" cy="1142682"/>
            </a:xfrm>
            <a:custGeom>
              <a:avLst/>
              <a:gdLst/>
              <a:ahLst/>
              <a:cxnLst>
                <a:cxn ang="0">
                  <a:pos x="1761" y="1920"/>
                </a:cxn>
                <a:cxn ang="0">
                  <a:pos x="1641" y="1882"/>
                </a:cxn>
                <a:cxn ang="0">
                  <a:pos x="1480" y="1877"/>
                </a:cxn>
                <a:cxn ang="0">
                  <a:pos x="1406" y="1736"/>
                </a:cxn>
                <a:cxn ang="0">
                  <a:pos x="1184" y="1596"/>
                </a:cxn>
                <a:cxn ang="0">
                  <a:pos x="1025" y="1477"/>
                </a:cxn>
                <a:cxn ang="0">
                  <a:pos x="985" y="1429"/>
                </a:cxn>
                <a:cxn ang="0">
                  <a:pos x="852" y="1456"/>
                </a:cxn>
                <a:cxn ang="0">
                  <a:pos x="699" y="1485"/>
                </a:cxn>
                <a:cxn ang="0">
                  <a:pos x="662" y="1423"/>
                </a:cxn>
                <a:cxn ang="0">
                  <a:pos x="617" y="1324"/>
                </a:cxn>
                <a:cxn ang="0">
                  <a:pos x="553" y="1308"/>
                </a:cxn>
                <a:cxn ang="0">
                  <a:pos x="504" y="1317"/>
                </a:cxn>
                <a:cxn ang="0">
                  <a:pos x="462" y="1160"/>
                </a:cxn>
                <a:cxn ang="0">
                  <a:pos x="420" y="986"/>
                </a:cxn>
                <a:cxn ang="0">
                  <a:pos x="334" y="927"/>
                </a:cxn>
                <a:cxn ang="0">
                  <a:pos x="262" y="816"/>
                </a:cxn>
                <a:cxn ang="0">
                  <a:pos x="126" y="712"/>
                </a:cxn>
                <a:cxn ang="0">
                  <a:pos x="27" y="720"/>
                </a:cxn>
                <a:cxn ang="0">
                  <a:pos x="17" y="669"/>
                </a:cxn>
                <a:cxn ang="0">
                  <a:pos x="70" y="575"/>
                </a:cxn>
                <a:cxn ang="0">
                  <a:pos x="171" y="506"/>
                </a:cxn>
                <a:cxn ang="0">
                  <a:pos x="334" y="397"/>
                </a:cxn>
                <a:cxn ang="0">
                  <a:pos x="595" y="192"/>
                </a:cxn>
                <a:cxn ang="0">
                  <a:pos x="726" y="18"/>
                </a:cxn>
                <a:cxn ang="0">
                  <a:pos x="782" y="72"/>
                </a:cxn>
                <a:cxn ang="0">
                  <a:pos x="840" y="272"/>
                </a:cxn>
                <a:cxn ang="0">
                  <a:pos x="916" y="580"/>
                </a:cxn>
                <a:cxn ang="0">
                  <a:pos x="979" y="842"/>
                </a:cxn>
                <a:cxn ang="0">
                  <a:pos x="1046" y="952"/>
                </a:cxn>
                <a:cxn ang="0">
                  <a:pos x="1118" y="957"/>
                </a:cxn>
                <a:cxn ang="0">
                  <a:pos x="1067" y="1077"/>
                </a:cxn>
                <a:cxn ang="0">
                  <a:pos x="1075" y="1151"/>
                </a:cxn>
                <a:cxn ang="0">
                  <a:pos x="1086" y="1252"/>
                </a:cxn>
                <a:cxn ang="0">
                  <a:pos x="1123" y="1362"/>
                </a:cxn>
                <a:cxn ang="0">
                  <a:pos x="1302" y="1352"/>
                </a:cxn>
                <a:cxn ang="0">
                  <a:pos x="1396" y="1396"/>
                </a:cxn>
                <a:cxn ang="0">
                  <a:pos x="1542" y="1373"/>
                </a:cxn>
                <a:cxn ang="0">
                  <a:pos x="1601" y="1309"/>
                </a:cxn>
                <a:cxn ang="0">
                  <a:pos x="1830" y="1364"/>
                </a:cxn>
                <a:cxn ang="0">
                  <a:pos x="1803" y="1456"/>
                </a:cxn>
                <a:cxn ang="0">
                  <a:pos x="1776" y="1532"/>
                </a:cxn>
                <a:cxn ang="0">
                  <a:pos x="1865" y="1664"/>
                </a:cxn>
                <a:cxn ang="0">
                  <a:pos x="1940" y="1924"/>
                </a:cxn>
                <a:cxn ang="0">
                  <a:pos x="1873" y="1980"/>
                </a:cxn>
                <a:cxn ang="0">
                  <a:pos x="1761" y="1920"/>
                </a:cxn>
              </a:cxnLst>
              <a:rect l="0" t="0" r="r" b="b"/>
              <a:pathLst>
                <a:path w="2001" h="1981">
                  <a:moveTo>
                    <a:pt x="1761" y="1920"/>
                  </a:moveTo>
                  <a:cubicBezTo>
                    <a:pt x="1684" y="1872"/>
                    <a:pt x="1664" y="1866"/>
                    <a:pt x="1641" y="1882"/>
                  </a:cubicBezTo>
                  <a:cubicBezTo>
                    <a:pt x="1558" y="1941"/>
                    <a:pt x="1545" y="1941"/>
                    <a:pt x="1480" y="1877"/>
                  </a:cubicBezTo>
                  <a:cubicBezTo>
                    <a:pt x="1428" y="1829"/>
                    <a:pt x="1414" y="1800"/>
                    <a:pt x="1406" y="1736"/>
                  </a:cubicBezTo>
                  <a:cubicBezTo>
                    <a:pt x="1387" y="1607"/>
                    <a:pt x="1300" y="1551"/>
                    <a:pt x="1184" y="1596"/>
                  </a:cubicBezTo>
                  <a:cubicBezTo>
                    <a:pt x="1139" y="1613"/>
                    <a:pt x="1142" y="1615"/>
                    <a:pt x="1025" y="1477"/>
                  </a:cubicBezTo>
                  <a:lnTo>
                    <a:pt x="985" y="1429"/>
                  </a:lnTo>
                  <a:lnTo>
                    <a:pt x="852" y="1456"/>
                  </a:lnTo>
                  <a:cubicBezTo>
                    <a:pt x="779" y="1472"/>
                    <a:pt x="710" y="1485"/>
                    <a:pt x="699" y="1485"/>
                  </a:cubicBezTo>
                  <a:cubicBezTo>
                    <a:pt x="688" y="1485"/>
                    <a:pt x="672" y="1456"/>
                    <a:pt x="662" y="1423"/>
                  </a:cubicBezTo>
                  <a:cubicBezTo>
                    <a:pt x="654" y="1388"/>
                    <a:pt x="633" y="1344"/>
                    <a:pt x="617" y="1324"/>
                  </a:cubicBezTo>
                  <a:cubicBezTo>
                    <a:pt x="592" y="1293"/>
                    <a:pt x="584" y="1292"/>
                    <a:pt x="553" y="1308"/>
                  </a:cubicBezTo>
                  <a:cubicBezTo>
                    <a:pt x="534" y="1317"/>
                    <a:pt x="512" y="1322"/>
                    <a:pt x="504" y="1317"/>
                  </a:cubicBezTo>
                  <a:cubicBezTo>
                    <a:pt x="496" y="1312"/>
                    <a:pt x="478" y="1242"/>
                    <a:pt x="462" y="1160"/>
                  </a:cubicBezTo>
                  <a:cubicBezTo>
                    <a:pt x="446" y="1079"/>
                    <a:pt x="427" y="1000"/>
                    <a:pt x="420" y="986"/>
                  </a:cubicBezTo>
                  <a:cubicBezTo>
                    <a:pt x="412" y="970"/>
                    <a:pt x="374" y="944"/>
                    <a:pt x="334" y="927"/>
                  </a:cubicBezTo>
                  <a:cubicBezTo>
                    <a:pt x="264" y="895"/>
                    <a:pt x="262" y="893"/>
                    <a:pt x="262" y="816"/>
                  </a:cubicBezTo>
                  <a:cubicBezTo>
                    <a:pt x="262" y="712"/>
                    <a:pt x="246" y="700"/>
                    <a:pt x="126" y="712"/>
                  </a:cubicBezTo>
                  <a:lnTo>
                    <a:pt x="27" y="720"/>
                  </a:lnTo>
                  <a:lnTo>
                    <a:pt x="17" y="669"/>
                  </a:lnTo>
                  <a:cubicBezTo>
                    <a:pt x="1" y="594"/>
                    <a:pt x="0" y="596"/>
                    <a:pt x="70" y="575"/>
                  </a:cubicBezTo>
                  <a:cubicBezTo>
                    <a:pt x="108" y="564"/>
                    <a:pt x="148" y="536"/>
                    <a:pt x="171" y="506"/>
                  </a:cubicBezTo>
                  <a:cubicBezTo>
                    <a:pt x="193" y="476"/>
                    <a:pt x="254" y="436"/>
                    <a:pt x="334" y="397"/>
                  </a:cubicBezTo>
                  <a:cubicBezTo>
                    <a:pt x="444" y="344"/>
                    <a:pt x="480" y="319"/>
                    <a:pt x="595" y="192"/>
                  </a:cubicBezTo>
                  <a:cubicBezTo>
                    <a:pt x="667" y="112"/>
                    <a:pt x="726" y="34"/>
                    <a:pt x="726" y="18"/>
                  </a:cubicBezTo>
                  <a:cubicBezTo>
                    <a:pt x="726" y="0"/>
                    <a:pt x="748" y="21"/>
                    <a:pt x="782" y="72"/>
                  </a:cubicBezTo>
                  <a:cubicBezTo>
                    <a:pt x="833" y="148"/>
                    <a:pt x="838" y="165"/>
                    <a:pt x="840" y="272"/>
                  </a:cubicBezTo>
                  <a:cubicBezTo>
                    <a:pt x="840" y="373"/>
                    <a:pt x="849" y="413"/>
                    <a:pt x="916" y="580"/>
                  </a:cubicBezTo>
                  <a:cubicBezTo>
                    <a:pt x="987" y="752"/>
                    <a:pt x="992" y="775"/>
                    <a:pt x="979" y="842"/>
                  </a:cubicBezTo>
                  <a:cubicBezTo>
                    <a:pt x="960" y="946"/>
                    <a:pt x="969" y="962"/>
                    <a:pt x="1046" y="952"/>
                  </a:cubicBezTo>
                  <a:cubicBezTo>
                    <a:pt x="1081" y="948"/>
                    <a:pt x="1113" y="949"/>
                    <a:pt x="1118" y="957"/>
                  </a:cubicBezTo>
                  <a:cubicBezTo>
                    <a:pt x="1131" y="976"/>
                    <a:pt x="1097" y="1055"/>
                    <a:pt x="1067" y="1077"/>
                  </a:cubicBezTo>
                  <a:cubicBezTo>
                    <a:pt x="1043" y="1095"/>
                    <a:pt x="1044" y="1101"/>
                    <a:pt x="1075" y="1151"/>
                  </a:cubicBezTo>
                  <a:cubicBezTo>
                    <a:pt x="1105" y="1202"/>
                    <a:pt x="1107" y="1210"/>
                    <a:pt x="1086" y="1252"/>
                  </a:cubicBezTo>
                  <a:cubicBezTo>
                    <a:pt x="1046" y="1327"/>
                    <a:pt x="1056" y="1351"/>
                    <a:pt x="1123" y="1362"/>
                  </a:cubicBezTo>
                  <a:cubicBezTo>
                    <a:pt x="1214" y="1378"/>
                    <a:pt x="1267" y="1375"/>
                    <a:pt x="1302" y="1352"/>
                  </a:cubicBezTo>
                  <a:cubicBezTo>
                    <a:pt x="1329" y="1336"/>
                    <a:pt x="1342" y="1341"/>
                    <a:pt x="1396" y="1396"/>
                  </a:cubicBezTo>
                  <a:cubicBezTo>
                    <a:pt x="1472" y="1468"/>
                    <a:pt x="1496" y="1464"/>
                    <a:pt x="1542" y="1373"/>
                  </a:cubicBezTo>
                  <a:cubicBezTo>
                    <a:pt x="1560" y="1338"/>
                    <a:pt x="1587" y="1309"/>
                    <a:pt x="1601" y="1309"/>
                  </a:cubicBezTo>
                  <a:cubicBezTo>
                    <a:pt x="1665" y="1309"/>
                    <a:pt x="1830" y="1348"/>
                    <a:pt x="1830" y="1364"/>
                  </a:cubicBezTo>
                  <a:cubicBezTo>
                    <a:pt x="1830" y="1373"/>
                    <a:pt x="1819" y="1415"/>
                    <a:pt x="1803" y="1456"/>
                  </a:cubicBezTo>
                  <a:lnTo>
                    <a:pt x="1776" y="1532"/>
                  </a:lnTo>
                  <a:lnTo>
                    <a:pt x="1865" y="1664"/>
                  </a:lnTo>
                  <a:cubicBezTo>
                    <a:pt x="2001" y="1871"/>
                    <a:pt x="1998" y="1858"/>
                    <a:pt x="1940" y="1924"/>
                  </a:cubicBezTo>
                  <a:cubicBezTo>
                    <a:pt x="1913" y="1956"/>
                    <a:pt x="1883" y="1981"/>
                    <a:pt x="1873" y="1980"/>
                  </a:cubicBezTo>
                  <a:cubicBezTo>
                    <a:pt x="1862" y="1980"/>
                    <a:pt x="1812" y="1954"/>
                    <a:pt x="1761" y="1920"/>
                  </a:cubicBezTo>
                  <a:close/>
                </a:path>
              </a:pathLst>
            </a:custGeom>
            <a:solidFill>
              <a:srgbClr val="5B93D7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90" name="Орловская область">
              <a:extLst>
                <a:ext uri="{FF2B5EF4-FFF2-40B4-BE49-F238E27FC236}">
                  <a16:creationId xmlns="" xmlns:a16="http://schemas.microsoft.com/office/drawing/2014/main" id="{00000000-0008-0000-0300-000061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7212" y="5511910"/>
              <a:ext cx="351156" cy="359392"/>
            </a:xfrm>
            <a:custGeom>
              <a:avLst/>
              <a:gdLst/>
              <a:ahLst/>
              <a:cxnLst>
                <a:cxn ang="0">
                  <a:pos x="243" y="606"/>
                </a:cxn>
                <a:cxn ang="0">
                  <a:pos x="210" y="491"/>
                </a:cxn>
                <a:cxn ang="0">
                  <a:pos x="93" y="294"/>
                </a:cxn>
                <a:cxn ang="0">
                  <a:pos x="8" y="172"/>
                </a:cxn>
                <a:cxn ang="0">
                  <a:pos x="136" y="44"/>
                </a:cxn>
                <a:cxn ang="0">
                  <a:pos x="183" y="25"/>
                </a:cxn>
                <a:cxn ang="0">
                  <a:pos x="315" y="19"/>
                </a:cxn>
                <a:cxn ang="0">
                  <a:pos x="427" y="40"/>
                </a:cxn>
                <a:cxn ang="0">
                  <a:pos x="437" y="118"/>
                </a:cxn>
                <a:cxn ang="0">
                  <a:pos x="495" y="248"/>
                </a:cxn>
                <a:cxn ang="0">
                  <a:pos x="480" y="529"/>
                </a:cxn>
                <a:cxn ang="0">
                  <a:pos x="338" y="622"/>
                </a:cxn>
                <a:cxn ang="0">
                  <a:pos x="243" y="606"/>
                </a:cxn>
              </a:cxnLst>
              <a:rect l="0" t="0" r="r" b="b"/>
              <a:pathLst>
                <a:path w="565" h="625">
                  <a:moveTo>
                    <a:pt x="243" y="606"/>
                  </a:moveTo>
                  <a:cubicBezTo>
                    <a:pt x="235" y="595"/>
                    <a:pt x="221" y="542"/>
                    <a:pt x="210" y="491"/>
                  </a:cubicBezTo>
                  <a:cubicBezTo>
                    <a:pt x="194" y="412"/>
                    <a:pt x="176" y="384"/>
                    <a:pt x="93" y="294"/>
                  </a:cubicBezTo>
                  <a:cubicBezTo>
                    <a:pt x="37" y="233"/>
                    <a:pt x="0" y="184"/>
                    <a:pt x="8" y="172"/>
                  </a:cubicBezTo>
                  <a:cubicBezTo>
                    <a:pt x="50" y="97"/>
                    <a:pt x="114" y="35"/>
                    <a:pt x="136" y="44"/>
                  </a:cubicBezTo>
                  <a:cubicBezTo>
                    <a:pt x="151" y="49"/>
                    <a:pt x="170" y="43"/>
                    <a:pt x="183" y="25"/>
                  </a:cubicBezTo>
                  <a:cubicBezTo>
                    <a:pt x="202" y="0"/>
                    <a:pt x="213" y="0"/>
                    <a:pt x="315" y="19"/>
                  </a:cubicBezTo>
                  <a:lnTo>
                    <a:pt x="427" y="40"/>
                  </a:lnTo>
                  <a:lnTo>
                    <a:pt x="437" y="118"/>
                  </a:lnTo>
                  <a:cubicBezTo>
                    <a:pt x="445" y="171"/>
                    <a:pt x="464" y="212"/>
                    <a:pt x="495" y="248"/>
                  </a:cubicBezTo>
                  <a:cubicBezTo>
                    <a:pt x="565" y="328"/>
                    <a:pt x="560" y="417"/>
                    <a:pt x="480" y="529"/>
                  </a:cubicBezTo>
                  <a:cubicBezTo>
                    <a:pt x="423" y="614"/>
                    <a:pt x="418" y="617"/>
                    <a:pt x="338" y="622"/>
                  </a:cubicBezTo>
                  <a:cubicBezTo>
                    <a:pt x="283" y="625"/>
                    <a:pt x="251" y="619"/>
                    <a:pt x="243" y="606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91" name="Пензенская область">
              <a:extLst>
                <a:ext uri="{FF2B5EF4-FFF2-40B4-BE49-F238E27FC236}">
                  <a16:creationId xmlns="" xmlns:a16="http://schemas.microsoft.com/office/drawing/2014/main" id="{00000000-0008-0000-0300-000062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087" y="6027959"/>
              <a:ext cx="481586" cy="497620"/>
            </a:xfrm>
            <a:custGeom>
              <a:avLst/>
              <a:gdLst/>
              <a:ahLst/>
              <a:cxnLst>
                <a:cxn ang="0">
                  <a:pos x="464" y="816"/>
                </a:cxn>
                <a:cxn ang="0">
                  <a:pos x="165" y="637"/>
                </a:cxn>
                <a:cxn ang="0">
                  <a:pos x="7" y="479"/>
                </a:cxn>
                <a:cxn ang="0">
                  <a:pos x="21" y="439"/>
                </a:cxn>
                <a:cxn ang="0">
                  <a:pos x="42" y="229"/>
                </a:cxn>
                <a:cxn ang="0">
                  <a:pos x="37" y="39"/>
                </a:cxn>
                <a:cxn ang="0">
                  <a:pos x="80" y="23"/>
                </a:cxn>
                <a:cxn ang="0">
                  <a:pos x="391" y="231"/>
                </a:cxn>
                <a:cxn ang="0">
                  <a:pos x="503" y="309"/>
                </a:cxn>
                <a:cxn ang="0">
                  <a:pos x="621" y="327"/>
                </a:cxn>
                <a:cxn ang="0">
                  <a:pos x="770" y="578"/>
                </a:cxn>
                <a:cxn ang="0">
                  <a:pos x="776" y="733"/>
                </a:cxn>
                <a:cxn ang="0">
                  <a:pos x="703" y="797"/>
                </a:cxn>
                <a:cxn ang="0">
                  <a:pos x="621" y="860"/>
                </a:cxn>
                <a:cxn ang="0">
                  <a:pos x="464" y="816"/>
                </a:cxn>
              </a:cxnLst>
              <a:rect l="0" t="0" r="r" b="b"/>
              <a:pathLst>
                <a:path w="776" h="860">
                  <a:moveTo>
                    <a:pt x="464" y="816"/>
                  </a:moveTo>
                  <a:cubicBezTo>
                    <a:pt x="319" y="775"/>
                    <a:pt x="309" y="768"/>
                    <a:pt x="165" y="637"/>
                  </a:cubicBezTo>
                  <a:cubicBezTo>
                    <a:pt x="83" y="562"/>
                    <a:pt x="11" y="490"/>
                    <a:pt x="7" y="479"/>
                  </a:cubicBezTo>
                  <a:cubicBezTo>
                    <a:pt x="0" y="466"/>
                    <a:pt x="8" y="448"/>
                    <a:pt x="21" y="439"/>
                  </a:cubicBezTo>
                  <a:cubicBezTo>
                    <a:pt x="42" y="423"/>
                    <a:pt x="45" y="388"/>
                    <a:pt x="42" y="229"/>
                  </a:cubicBezTo>
                  <a:lnTo>
                    <a:pt x="37" y="39"/>
                  </a:lnTo>
                  <a:lnTo>
                    <a:pt x="80" y="23"/>
                  </a:lnTo>
                  <a:cubicBezTo>
                    <a:pt x="143" y="0"/>
                    <a:pt x="319" y="117"/>
                    <a:pt x="391" y="231"/>
                  </a:cubicBezTo>
                  <a:cubicBezTo>
                    <a:pt x="456" y="332"/>
                    <a:pt x="464" y="338"/>
                    <a:pt x="503" y="309"/>
                  </a:cubicBezTo>
                  <a:cubicBezTo>
                    <a:pt x="528" y="292"/>
                    <a:pt x="544" y="293"/>
                    <a:pt x="621" y="327"/>
                  </a:cubicBezTo>
                  <a:cubicBezTo>
                    <a:pt x="754" y="386"/>
                    <a:pt x="760" y="397"/>
                    <a:pt x="770" y="578"/>
                  </a:cubicBezTo>
                  <a:lnTo>
                    <a:pt x="776" y="733"/>
                  </a:lnTo>
                  <a:lnTo>
                    <a:pt x="703" y="797"/>
                  </a:lnTo>
                  <a:cubicBezTo>
                    <a:pt x="663" y="832"/>
                    <a:pt x="626" y="860"/>
                    <a:pt x="621" y="860"/>
                  </a:cubicBezTo>
                  <a:cubicBezTo>
                    <a:pt x="616" y="860"/>
                    <a:pt x="546" y="839"/>
                    <a:pt x="464" y="816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92" name="Пермский край">
              <a:extLst>
                <a:ext uri="{FF2B5EF4-FFF2-40B4-BE49-F238E27FC236}">
                  <a16:creationId xmlns="" xmlns:a16="http://schemas.microsoft.com/office/drawing/2014/main" id="{00000000-0008-0000-0300-000063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5704" y="5456618"/>
              <a:ext cx="1033403" cy="1115036"/>
            </a:xfrm>
            <a:custGeom>
              <a:avLst/>
              <a:gdLst/>
              <a:ahLst/>
              <a:cxnLst>
                <a:cxn ang="0">
                  <a:pos x="446" y="1907"/>
                </a:cxn>
                <a:cxn ang="0">
                  <a:pos x="376" y="1808"/>
                </a:cxn>
                <a:cxn ang="0">
                  <a:pos x="320" y="1715"/>
                </a:cxn>
                <a:cxn ang="0">
                  <a:pos x="228" y="1696"/>
                </a:cxn>
                <a:cxn ang="0">
                  <a:pos x="97" y="1627"/>
                </a:cxn>
                <a:cxn ang="0">
                  <a:pos x="9" y="1463"/>
                </a:cxn>
                <a:cxn ang="0">
                  <a:pos x="75" y="1434"/>
                </a:cxn>
                <a:cxn ang="0">
                  <a:pos x="134" y="1387"/>
                </a:cxn>
                <a:cxn ang="0">
                  <a:pos x="198" y="1234"/>
                </a:cxn>
                <a:cxn ang="0">
                  <a:pos x="262" y="1040"/>
                </a:cxn>
                <a:cxn ang="0">
                  <a:pos x="318" y="843"/>
                </a:cxn>
                <a:cxn ang="0">
                  <a:pos x="377" y="760"/>
                </a:cxn>
                <a:cxn ang="0">
                  <a:pos x="379" y="648"/>
                </a:cxn>
                <a:cxn ang="0">
                  <a:pos x="393" y="554"/>
                </a:cxn>
                <a:cxn ang="0">
                  <a:pos x="574" y="384"/>
                </a:cxn>
                <a:cxn ang="0">
                  <a:pos x="494" y="274"/>
                </a:cxn>
                <a:cxn ang="0">
                  <a:pos x="409" y="93"/>
                </a:cxn>
                <a:cxn ang="0">
                  <a:pos x="460" y="2"/>
                </a:cxn>
                <a:cxn ang="0">
                  <a:pos x="561" y="7"/>
                </a:cxn>
                <a:cxn ang="0">
                  <a:pos x="651" y="93"/>
                </a:cxn>
                <a:cxn ang="0">
                  <a:pos x="819" y="207"/>
                </a:cxn>
                <a:cxn ang="0">
                  <a:pos x="950" y="245"/>
                </a:cxn>
                <a:cxn ang="0">
                  <a:pos x="1110" y="216"/>
                </a:cxn>
                <a:cxn ang="0">
                  <a:pos x="1531" y="266"/>
                </a:cxn>
                <a:cxn ang="0">
                  <a:pos x="1654" y="331"/>
                </a:cxn>
                <a:cxn ang="0">
                  <a:pos x="1622" y="411"/>
                </a:cxn>
                <a:cxn ang="0">
                  <a:pos x="1590" y="514"/>
                </a:cxn>
                <a:cxn ang="0">
                  <a:pos x="1262" y="880"/>
                </a:cxn>
                <a:cxn ang="0">
                  <a:pos x="1203" y="899"/>
                </a:cxn>
                <a:cxn ang="0">
                  <a:pos x="1211" y="975"/>
                </a:cxn>
                <a:cxn ang="0">
                  <a:pos x="1248" y="1107"/>
                </a:cxn>
                <a:cxn ang="0">
                  <a:pos x="1249" y="1207"/>
                </a:cxn>
                <a:cxn ang="0">
                  <a:pos x="1222" y="1295"/>
                </a:cxn>
                <a:cxn ang="0">
                  <a:pos x="1131" y="1375"/>
                </a:cxn>
                <a:cxn ang="0">
                  <a:pos x="998" y="1501"/>
                </a:cxn>
                <a:cxn ang="0">
                  <a:pos x="902" y="1530"/>
                </a:cxn>
                <a:cxn ang="0">
                  <a:pos x="808" y="1519"/>
                </a:cxn>
                <a:cxn ang="0">
                  <a:pos x="768" y="1599"/>
                </a:cxn>
                <a:cxn ang="0">
                  <a:pos x="726" y="1679"/>
                </a:cxn>
                <a:cxn ang="0">
                  <a:pos x="635" y="1683"/>
                </a:cxn>
                <a:cxn ang="0">
                  <a:pos x="542" y="1688"/>
                </a:cxn>
                <a:cxn ang="0">
                  <a:pos x="518" y="1799"/>
                </a:cxn>
                <a:cxn ang="0">
                  <a:pos x="446" y="1907"/>
                </a:cxn>
              </a:cxnLst>
              <a:rect l="0" t="0" r="r" b="b"/>
              <a:pathLst>
                <a:path w="1654" h="1931">
                  <a:moveTo>
                    <a:pt x="446" y="1907"/>
                  </a:moveTo>
                  <a:cubicBezTo>
                    <a:pt x="436" y="1901"/>
                    <a:pt x="404" y="1856"/>
                    <a:pt x="376" y="1808"/>
                  </a:cubicBezTo>
                  <a:cubicBezTo>
                    <a:pt x="347" y="1759"/>
                    <a:pt x="321" y="1719"/>
                    <a:pt x="320" y="1715"/>
                  </a:cubicBezTo>
                  <a:cubicBezTo>
                    <a:pt x="316" y="1714"/>
                    <a:pt x="276" y="1704"/>
                    <a:pt x="228" y="1696"/>
                  </a:cubicBezTo>
                  <a:cubicBezTo>
                    <a:pt x="161" y="1683"/>
                    <a:pt x="132" y="1667"/>
                    <a:pt x="97" y="1627"/>
                  </a:cubicBezTo>
                  <a:cubicBezTo>
                    <a:pt x="57" y="1581"/>
                    <a:pt x="0" y="1472"/>
                    <a:pt x="9" y="1463"/>
                  </a:cubicBezTo>
                  <a:cubicBezTo>
                    <a:pt x="12" y="1461"/>
                    <a:pt x="41" y="1448"/>
                    <a:pt x="75" y="1434"/>
                  </a:cubicBezTo>
                  <a:cubicBezTo>
                    <a:pt x="107" y="1421"/>
                    <a:pt x="134" y="1400"/>
                    <a:pt x="134" y="1387"/>
                  </a:cubicBezTo>
                  <a:cubicBezTo>
                    <a:pt x="134" y="1376"/>
                    <a:pt x="163" y="1306"/>
                    <a:pt x="198" y="1234"/>
                  </a:cubicBezTo>
                  <a:cubicBezTo>
                    <a:pt x="238" y="1151"/>
                    <a:pt x="262" y="1079"/>
                    <a:pt x="262" y="1040"/>
                  </a:cubicBezTo>
                  <a:cubicBezTo>
                    <a:pt x="262" y="944"/>
                    <a:pt x="280" y="883"/>
                    <a:pt x="318" y="843"/>
                  </a:cubicBezTo>
                  <a:cubicBezTo>
                    <a:pt x="337" y="824"/>
                    <a:pt x="364" y="786"/>
                    <a:pt x="377" y="760"/>
                  </a:cubicBezTo>
                  <a:cubicBezTo>
                    <a:pt x="400" y="719"/>
                    <a:pt x="400" y="706"/>
                    <a:pt x="379" y="648"/>
                  </a:cubicBezTo>
                  <a:cubicBezTo>
                    <a:pt x="358" y="586"/>
                    <a:pt x="358" y="583"/>
                    <a:pt x="393" y="554"/>
                  </a:cubicBezTo>
                  <a:cubicBezTo>
                    <a:pt x="454" y="506"/>
                    <a:pt x="561" y="403"/>
                    <a:pt x="574" y="384"/>
                  </a:cubicBezTo>
                  <a:cubicBezTo>
                    <a:pt x="579" y="375"/>
                    <a:pt x="544" y="325"/>
                    <a:pt x="494" y="274"/>
                  </a:cubicBezTo>
                  <a:cubicBezTo>
                    <a:pt x="406" y="179"/>
                    <a:pt x="404" y="178"/>
                    <a:pt x="409" y="93"/>
                  </a:cubicBezTo>
                  <a:cubicBezTo>
                    <a:pt x="414" y="11"/>
                    <a:pt x="417" y="8"/>
                    <a:pt x="460" y="2"/>
                  </a:cubicBezTo>
                  <a:cubicBezTo>
                    <a:pt x="486" y="0"/>
                    <a:pt x="531" y="2"/>
                    <a:pt x="561" y="7"/>
                  </a:cubicBezTo>
                  <a:cubicBezTo>
                    <a:pt x="606" y="16"/>
                    <a:pt x="622" y="31"/>
                    <a:pt x="651" y="93"/>
                  </a:cubicBezTo>
                  <a:cubicBezTo>
                    <a:pt x="686" y="165"/>
                    <a:pt x="689" y="168"/>
                    <a:pt x="819" y="207"/>
                  </a:cubicBezTo>
                  <a:lnTo>
                    <a:pt x="950" y="245"/>
                  </a:lnTo>
                  <a:lnTo>
                    <a:pt x="1110" y="216"/>
                  </a:lnTo>
                  <a:cubicBezTo>
                    <a:pt x="1288" y="183"/>
                    <a:pt x="1310" y="186"/>
                    <a:pt x="1531" y="266"/>
                  </a:cubicBezTo>
                  <a:cubicBezTo>
                    <a:pt x="1598" y="290"/>
                    <a:pt x="1654" y="320"/>
                    <a:pt x="1654" y="331"/>
                  </a:cubicBezTo>
                  <a:cubicBezTo>
                    <a:pt x="1654" y="343"/>
                    <a:pt x="1640" y="379"/>
                    <a:pt x="1622" y="411"/>
                  </a:cubicBezTo>
                  <a:cubicBezTo>
                    <a:pt x="1604" y="445"/>
                    <a:pt x="1590" y="490"/>
                    <a:pt x="1590" y="514"/>
                  </a:cubicBezTo>
                  <a:cubicBezTo>
                    <a:pt x="1590" y="587"/>
                    <a:pt x="1358" y="848"/>
                    <a:pt x="1262" y="880"/>
                  </a:cubicBezTo>
                  <a:lnTo>
                    <a:pt x="1203" y="899"/>
                  </a:lnTo>
                  <a:lnTo>
                    <a:pt x="1211" y="975"/>
                  </a:lnTo>
                  <a:cubicBezTo>
                    <a:pt x="1216" y="1016"/>
                    <a:pt x="1232" y="1075"/>
                    <a:pt x="1248" y="1107"/>
                  </a:cubicBezTo>
                  <a:cubicBezTo>
                    <a:pt x="1273" y="1162"/>
                    <a:pt x="1273" y="1168"/>
                    <a:pt x="1249" y="1207"/>
                  </a:cubicBezTo>
                  <a:cubicBezTo>
                    <a:pt x="1235" y="1229"/>
                    <a:pt x="1222" y="1267"/>
                    <a:pt x="1222" y="1295"/>
                  </a:cubicBezTo>
                  <a:cubicBezTo>
                    <a:pt x="1222" y="1338"/>
                    <a:pt x="1214" y="1344"/>
                    <a:pt x="1131" y="1375"/>
                  </a:cubicBezTo>
                  <a:cubicBezTo>
                    <a:pt x="1028" y="1413"/>
                    <a:pt x="998" y="1442"/>
                    <a:pt x="998" y="1501"/>
                  </a:cubicBezTo>
                  <a:cubicBezTo>
                    <a:pt x="998" y="1539"/>
                    <a:pt x="996" y="1539"/>
                    <a:pt x="902" y="1530"/>
                  </a:cubicBezTo>
                  <a:lnTo>
                    <a:pt x="808" y="1519"/>
                  </a:lnTo>
                  <a:lnTo>
                    <a:pt x="768" y="1599"/>
                  </a:lnTo>
                  <a:lnTo>
                    <a:pt x="726" y="1679"/>
                  </a:lnTo>
                  <a:lnTo>
                    <a:pt x="635" y="1683"/>
                  </a:lnTo>
                  <a:lnTo>
                    <a:pt x="542" y="1688"/>
                  </a:lnTo>
                  <a:lnTo>
                    <a:pt x="518" y="1799"/>
                  </a:lnTo>
                  <a:cubicBezTo>
                    <a:pt x="494" y="1907"/>
                    <a:pt x="478" y="1931"/>
                    <a:pt x="446" y="1907"/>
                  </a:cubicBezTo>
                  <a:close/>
                </a:path>
              </a:pathLst>
            </a:custGeom>
            <a:solidFill>
              <a:srgbClr val="3072C2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93" name="Приморский край">
              <a:extLst>
                <a:ext uri="{FF2B5EF4-FFF2-40B4-BE49-F238E27FC236}">
                  <a16:creationId xmlns="" xmlns:a16="http://schemas.microsoft.com/office/drawing/2014/main" id="{00000000-0008-0000-0300-000064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01126" y="6875755"/>
              <a:ext cx="692280" cy="1686377"/>
            </a:xfrm>
            <a:custGeom>
              <a:avLst/>
              <a:gdLst/>
              <a:ahLst/>
              <a:cxnLst>
                <a:cxn ang="0">
                  <a:pos x="277" y="2916"/>
                </a:cxn>
                <a:cxn ang="0">
                  <a:pos x="320" y="2784"/>
                </a:cxn>
                <a:cxn ang="0">
                  <a:pos x="384" y="2644"/>
                </a:cxn>
                <a:cxn ang="0">
                  <a:pos x="280" y="2459"/>
                </a:cxn>
                <a:cxn ang="0">
                  <a:pos x="88" y="2224"/>
                </a:cxn>
                <a:cxn ang="0">
                  <a:pos x="0" y="2128"/>
                </a:cxn>
                <a:cxn ang="0">
                  <a:pos x="68" y="1926"/>
                </a:cxn>
                <a:cxn ang="0">
                  <a:pos x="189" y="1889"/>
                </a:cxn>
                <a:cxn ang="0">
                  <a:pos x="384" y="1819"/>
                </a:cxn>
                <a:cxn ang="0">
                  <a:pos x="362" y="1737"/>
                </a:cxn>
                <a:cxn ang="0">
                  <a:pos x="328" y="1505"/>
                </a:cxn>
                <a:cxn ang="0">
                  <a:pos x="279" y="1251"/>
                </a:cxn>
                <a:cxn ang="0">
                  <a:pos x="253" y="1121"/>
                </a:cxn>
                <a:cxn ang="0">
                  <a:pos x="295" y="1099"/>
                </a:cxn>
                <a:cxn ang="0">
                  <a:pos x="298" y="1038"/>
                </a:cxn>
                <a:cxn ang="0">
                  <a:pos x="314" y="923"/>
                </a:cxn>
                <a:cxn ang="0">
                  <a:pos x="356" y="849"/>
                </a:cxn>
                <a:cxn ang="0">
                  <a:pos x="602" y="849"/>
                </a:cxn>
                <a:cxn ang="0">
                  <a:pos x="690" y="771"/>
                </a:cxn>
                <a:cxn ang="0">
                  <a:pos x="776" y="692"/>
                </a:cxn>
                <a:cxn ang="0">
                  <a:pos x="733" y="603"/>
                </a:cxn>
                <a:cxn ang="0">
                  <a:pos x="690" y="515"/>
                </a:cxn>
                <a:cxn ang="0">
                  <a:pos x="749" y="510"/>
                </a:cxn>
                <a:cxn ang="0">
                  <a:pos x="818" y="465"/>
                </a:cxn>
                <a:cxn ang="0">
                  <a:pos x="816" y="233"/>
                </a:cxn>
                <a:cxn ang="0">
                  <a:pos x="743" y="240"/>
                </a:cxn>
                <a:cxn ang="0">
                  <a:pos x="639" y="232"/>
                </a:cxn>
                <a:cxn ang="0">
                  <a:pos x="592" y="195"/>
                </a:cxn>
                <a:cxn ang="0">
                  <a:pos x="658" y="91"/>
                </a:cxn>
                <a:cxn ang="0">
                  <a:pos x="724" y="0"/>
                </a:cxn>
                <a:cxn ang="0">
                  <a:pos x="797" y="52"/>
                </a:cxn>
                <a:cxn ang="0">
                  <a:pos x="877" y="150"/>
                </a:cxn>
                <a:cxn ang="0">
                  <a:pos x="935" y="216"/>
                </a:cxn>
                <a:cxn ang="0">
                  <a:pos x="997" y="299"/>
                </a:cxn>
                <a:cxn ang="0">
                  <a:pos x="1040" y="497"/>
                </a:cxn>
                <a:cxn ang="0">
                  <a:pos x="1084" y="1297"/>
                </a:cxn>
                <a:cxn ang="0">
                  <a:pos x="1092" y="1961"/>
                </a:cxn>
                <a:cxn ang="0">
                  <a:pos x="989" y="2185"/>
                </a:cxn>
                <a:cxn ang="0">
                  <a:pos x="887" y="2408"/>
                </a:cxn>
                <a:cxn ang="0">
                  <a:pos x="690" y="2467"/>
                </a:cxn>
                <a:cxn ang="0">
                  <a:pos x="474" y="2544"/>
                </a:cxn>
                <a:cxn ang="0">
                  <a:pos x="445" y="2672"/>
                </a:cxn>
                <a:cxn ang="0">
                  <a:pos x="407" y="2856"/>
                </a:cxn>
                <a:cxn ang="0">
                  <a:pos x="336" y="2929"/>
                </a:cxn>
                <a:cxn ang="0">
                  <a:pos x="277" y="2916"/>
                </a:cxn>
              </a:cxnLst>
              <a:rect l="0" t="0" r="r" b="b"/>
              <a:pathLst>
                <a:path w="1092" h="2929">
                  <a:moveTo>
                    <a:pt x="277" y="2916"/>
                  </a:moveTo>
                  <a:cubicBezTo>
                    <a:pt x="263" y="2907"/>
                    <a:pt x="274" y="2872"/>
                    <a:pt x="320" y="2784"/>
                  </a:cubicBezTo>
                  <a:cubicBezTo>
                    <a:pt x="356" y="2718"/>
                    <a:pt x="384" y="2656"/>
                    <a:pt x="384" y="2644"/>
                  </a:cubicBezTo>
                  <a:cubicBezTo>
                    <a:pt x="384" y="2633"/>
                    <a:pt x="338" y="2550"/>
                    <a:pt x="280" y="2459"/>
                  </a:cubicBezTo>
                  <a:cubicBezTo>
                    <a:pt x="208" y="2342"/>
                    <a:pt x="151" y="2273"/>
                    <a:pt x="88" y="2224"/>
                  </a:cubicBezTo>
                  <a:cubicBezTo>
                    <a:pt x="40" y="2185"/>
                    <a:pt x="0" y="2142"/>
                    <a:pt x="0" y="2128"/>
                  </a:cubicBezTo>
                  <a:cubicBezTo>
                    <a:pt x="0" y="2096"/>
                    <a:pt x="48" y="1950"/>
                    <a:pt x="68" y="1926"/>
                  </a:cubicBezTo>
                  <a:cubicBezTo>
                    <a:pt x="76" y="1916"/>
                    <a:pt x="130" y="1900"/>
                    <a:pt x="189" y="1889"/>
                  </a:cubicBezTo>
                  <a:cubicBezTo>
                    <a:pt x="317" y="1868"/>
                    <a:pt x="384" y="1844"/>
                    <a:pt x="384" y="1819"/>
                  </a:cubicBezTo>
                  <a:cubicBezTo>
                    <a:pt x="384" y="1809"/>
                    <a:pt x="375" y="1772"/>
                    <a:pt x="362" y="1737"/>
                  </a:cubicBezTo>
                  <a:cubicBezTo>
                    <a:pt x="349" y="1702"/>
                    <a:pt x="335" y="1596"/>
                    <a:pt x="328" y="1505"/>
                  </a:cubicBezTo>
                  <a:cubicBezTo>
                    <a:pt x="320" y="1379"/>
                    <a:pt x="308" y="1315"/>
                    <a:pt x="279" y="1251"/>
                  </a:cubicBezTo>
                  <a:cubicBezTo>
                    <a:pt x="239" y="1161"/>
                    <a:pt x="231" y="1121"/>
                    <a:pt x="253" y="1121"/>
                  </a:cubicBezTo>
                  <a:cubicBezTo>
                    <a:pt x="261" y="1121"/>
                    <a:pt x="279" y="1112"/>
                    <a:pt x="295" y="1099"/>
                  </a:cubicBezTo>
                  <a:cubicBezTo>
                    <a:pt x="324" y="1080"/>
                    <a:pt x="324" y="1075"/>
                    <a:pt x="298" y="1038"/>
                  </a:cubicBezTo>
                  <a:cubicBezTo>
                    <a:pt x="274" y="1000"/>
                    <a:pt x="274" y="995"/>
                    <a:pt x="314" y="923"/>
                  </a:cubicBezTo>
                  <a:lnTo>
                    <a:pt x="356" y="849"/>
                  </a:lnTo>
                  <a:lnTo>
                    <a:pt x="602" y="849"/>
                  </a:lnTo>
                  <a:lnTo>
                    <a:pt x="690" y="771"/>
                  </a:lnTo>
                  <a:lnTo>
                    <a:pt x="776" y="692"/>
                  </a:lnTo>
                  <a:lnTo>
                    <a:pt x="733" y="603"/>
                  </a:lnTo>
                  <a:lnTo>
                    <a:pt x="690" y="515"/>
                  </a:lnTo>
                  <a:lnTo>
                    <a:pt x="749" y="510"/>
                  </a:lnTo>
                  <a:cubicBezTo>
                    <a:pt x="796" y="505"/>
                    <a:pt x="810" y="497"/>
                    <a:pt x="818" y="465"/>
                  </a:cubicBezTo>
                  <a:cubicBezTo>
                    <a:pt x="836" y="403"/>
                    <a:pt x="834" y="244"/>
                    <a:pt x="816" y="233"/>
                  </a:cubicBezTo>
                  <a:cubicBezTo>
                    <a:pt x="808" y="227"/>
                    <a:pt x="775" y="230"/>
                    <a:pt x="743" y="240"/>
                  </a:cubicBezTo>
                  <a:cubicBezTo>
                    <a:pt x="698" y="252"/>
                    <a:pt x="674" y="249"/>
                    <a:pt x="639" y="232"/>
                  </a:cubicBezTo>
                  <a:cubicBezTo>
                    <a:pt x="613" y="219"/>
                    <a:pt x="592" y="203"/>
                    <a:pt x="592" y="195"/>
                  </a:cubicBezTo>
                  <a:cubicBezTo>
                    <a:pt x="592" y="188"/>
                    <a:pt x="621" y="140"/>
                    <a:pt x="658" y="91"/>
                  </a:cubicBezTo>
                  <a:lnTo>
                    <a:pt x="724" y="0"/>
                  </a:lnTo>
                  <a:lnTo>
                    <a:pt x="797" y="52"/>
                  </a:lnTo>
                  <a:cubicBezTo>
                    <a:pt x="850" y="91"/>
                    <a:pt x="874" y="120"/>
                    <a:pt x="877" y="150"/>
                  </a:cubicBezTo>
                  <a:cubicBezTo>
                    <a:pt x="882" y="182"/>
                    <a:pt x="896" y="200"/>
                    <a:pt x="935" y="216"/>
                  </a:cubicBezTo>
                  <a:cubicBezTo>
                    <a:pt x="978" y="233"/>
                    <a:pt x="989" y="248"/>
                    <a:pt x="997" y="299"/>
                  </a:cubicBezTo>
                  <a:cubicBezTo>
                    <a:pt x="1004" y="332"/>
                    <a:pt x="1023" y="422"/>
                    <a:pt x="1040" y="497"/>
                  </a:cubicBezTo>
                  <a:cubicBezTo>
                    <a:pt x="1072" y="620"/>
                    <a:pt x="1076" y="691"/>
                    <a:pt x="1084" y="1297"/>
                  </a:cubicBezTo>
                  <a:lnTo>
                    <a:pt x="1092" y="1961"/>
                  </a:lnTo>
                  <a:lnTo>
                    <a:pt x="989" y="2185"/>
                  </a:lnTo>
                  <a:lnTo>
                    <a:pt x="887" y="2408"/>
                  </a:lnTo>
                  <a:lnTo>
                    <a:pt x="690" y="2467"/>
                  </a:lnTo>
                  <a:cubicBezTo>
                    <a:pt x="583" y="2500"/>
                    <a:pt x="485" y="2534"/>
                    <a:pt x="474" y="2544"/>
                  </a:cubicBezTo>
                  <a:cubicBezTo>
                    <a:pt x="461" y="2553"/>
                    <a:pt x="450" y="2609"/>
                    <a:pt x="445" y="2672"/>
                  </a:cubicBezTo>
                  <a:cubicBezTo>
                    <a:pt x="440" y="2732"/>
                    <a:pt x="423" y="2814"/>
                    <a:pt x="407" y="2856"/>
                  </a:cubicBezTo>
                  <a:cubicBezTo>
                    <a:pt x="383" y="2915"/>
                    <a:pt x="368" y="2929"/>
                    <a:pt x="336" y="2929"/>
                  </a:cubicBezTo>
                  <a:cubicBezTo>
                    <a:pt x="314" y="2928"/>
                    <a:pt x="288" y="2923"/>
                    <a:pt x="277" y="2916"/>
                  </a:cubicBezTo>
                  <a:close/>
                </a:path>
              </a:pathLst>
            </a:custGeom>
            <a:solidFill>
              <a:srgbClr val="3072C2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94" name="Псковская область">
              <a:extLst>
                <a:ext uri="{FF2B5EF4-FFF2-40B4-BE49-F238E27FC236}">
                  <a16:creationId xmlns="" xmlns:a16="http://schemas.microsoft.com/office/drawing/2014/main" id="{00000000-0008-0000-0300-000065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7344" y="4065126"/>
              <a:ext cx="491619" cy="709569"/>
            </a:xfrm>
            <a:custGeom>
              <a:avLst/>
              <a:gdLst/>
              <a:ahLst/>
              <a:cxnLst>
                <a:cxn ang="0">
                  <a:pos x="193" y="1171"/>
                </a:cxn>
                <a:cxn ang="0">
                  <a:pos x="9" y="677"/>
                </a:cxn>
                <a:cxn ang="0">
                  <a:pos x="251" y="267"/>
                </a:cxn>
                <a:cxn ang="0">
                  <a:pos x="324" y="240"/>
                </a:cxn>
                <a:cxn ang="0">
                  <a:pos x="492" y="114"/>
                </a:cxn>
                <a:cxn ang="0">
                  <a:pos x="670" y="0"/>
                </a:cxn>
                <a:cxn ang="0">
                  <a:pos x="776" y="283"/>
                </a:cxn>
                <a:cxn ang="0">
                  <a:pos x="787" y="400"/>
                </a:cxn>
                <a:cxn ang="0">
                  <a:pos x="747" y="400"/>
                </a:cxn>
                <a:cxn ang="0">
                  <a:pos x="675" y="515"/>
                </a:cxn>
                <a:cxn ang="0">
                  <a:pos x="694" y="616"/>
                </a:cxn>
                <a:cxn ang="0">
                  <a:pos x="630" y="728"/>
                </a:cxn>
                <a:cxn ang="0">
                  <a:pos x="400" y="1063"/>
                </a:cxn>
                <a:cxn ang="0">
                  <a:pos x="382" y="1163"/>
                </a:cxn>
                <a:cxn ang="0">
                  <a:pos x="252" y="1232"/>
                </a:cxn>
                <a:cxn ang="0">
                  <a:pos x="193" y="1171"/>
                </a:cxn>
              </a:cxnLst>
              <a:rect l="0" t="0" r="r" b="b"/>
              <a:pathLst>
                <a:path w="787" h="1232">
                  <a:moveTo>
                    <a:pt x="193" y="1171"/>
                  </a:moveTo>
                  <a:cubicBezTo>
                    <a:pt x="123" y="1034"/>
                    <a:pt x="0" y="704"/>
                    <a:pt x="9" y="677"/>
                  </a:cubicBezTo>
                  <a:cubicBezTo>
                    <a:pt x="24" y="635"/>
                    <a:pt x="222" y="301"/>
                    <a:pt x="251" y="267"/>
                  </a:cubicBezTo>
                  <a:cubicBezTo>
                    <a:pt x="264" y="253"/>
                    <a:pt x="297" y="240"/>
                    <a:pt x="324" y="240"/>
                  </a:cubicBezTo>
                  <a:cubicBezTo>
                    <a:pt x="392" y="240"/>
                    <a:pt x="432" y="210"/>
                    <a:pt x="492" y="114"/>
                  </a:cubicBezTo>
                  <a:cubicBezTo>
                    <a:pt x="542" y="37"/>
                    <a:pt x="601" y="0"/>
                    <a:pt x="670" y="0"/>
                  </a:cubicBezTo>
                  <a:cubicBezTo>
                    <a:pt x="708" y="0"/>
                    <a:pt x="763" y="146"/>
                    <a:pt x="776" y="283"/>
                  </a:cubicBezTo>
                  <a:lnTo>
                    <a:pt x="787" y="400"/>
                  </a:lnTo>
                  <a:lnTo>
                    <a:pt x="747" y="400"/>
                  </a:lnTo>
                  <a:cubicBezTo>
                    <a:pt x="688" y="400"/>
                    <a:pt x="665" y="437"/>
                    <a:pt x="675" y="515"/>
                  </a:cubicBezTo>
                  <a:cubicBezTo>
                    <a:pt x="680" y="554"/>
                    <a:pt x="688" y="599"/>
                    <a:pt x="694" y="616"/>
                  </a:cubicBezTo>
                  <a:cubicBezTo>
                    <a:pt x="700" y="639"/>
                    <a:pt x="683" y="669"/>
                    <a:pt x="630" y="728"/>
                  </a:cubicBezTo>
                  <a:cubicBezTo>
                    <a:pt x="435" y="939"/>
                    <a:pt x="417" y="965"/>
                    <a:pt x="400" y="1063"/>
                  </a:cubicBezTo>
                  <a:cubicBezTo>
                    <a:pt x="390" y="1115"/>
                    <a:pt x="382" y="1160"/>
                    <a:pt x="382" y="1163"/>
                  </a:cubicBezTo>
                  <a:cubicBezTo>
                    <a:pt x="382" y="1176"/>
                    <a:pt x="276" y="1232"/>
                    <a:pt x="252" y="1232"/>
                  </a:cubicBezTo>
                  <a:cubicBezTo>
                    <a:pt x="238" y="1232"/>
                    <a:pt x="211" y="1205"/>
                    <a:pt x="193" y="1171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95" name="Республика Адыгея">
              <a:extLst>
                <a:ext uri="{FF2B5EF4-FFF2-40B4-BE49-F238E27FC236}">
                  <a16:creationId xmlns="" xmlns:a16="http://schemas.microsoft.com/office/drawing/2014/main" id="{00000000-0008-0000-0300-000066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4569" y="7115350"/>
              <a:ext cx="210694" cy="340961"/>
            </a:xfrm>
            <a:custGeom>
              <a:avLst/>
              <a:gdLst>
                <a:gd name="T0" fmla="*/ 30 w 21"/>
                <a:gd name="T1" fmla="*/ 556 h 37"/>
                <a:gd name="T2" fmla="*/ 3 w 21"/>
                <a:gd name="T3" fmla="*/ 500 h 37"/>
                <a:gd name="T4" fmla="*/ 35 w 21"/>
                <a:gd name="T5" fmla="*/ 489 h 37"/>
                <a:gd name="T6" fmla="*/ 96 w 21"/>
                <a:gd name="T7" fmla="*/ 473 h 37"/>
                <a:gd name="T8" fmla="*/ 101 w 21"/>
                <a:gd name="T9" fmla="*/ 425 h 37"/>
                <a:gd name="T10" fmla="*/ 142 w 21"/>
                <a:gd name="T11" fmla="*/ 321 h 37"/>
                <a:gd name="T12" fmla="*/ 232 w 21"/>
                <a:gd name="T13" fmla="*/ 200 h 37"/>
                <a:gd name="T14" fmla="*/ 168 w 21"/>
                <a:gd name="T15" fmla="*/ 185 h 37"/>
                <a:gd name="T16" fmla="*/ 22 w 21"/>
                <a:gd name="T17" fmla="*/ 60 h 37"/>
                <a:gd name="T18" fmla="*/ 80 w 21"/>
                <a:gd name="T19" fmla="*/ 46 h 37"/>
                <a:gd name="T20" fmla="*/ 194 w 21"/>
                <a:gd name="T21" fmla="*/ 89 h 37"/>
                <a:gd name="T22" fmla="*/ 282 w 21"/>
                <a:gd name="T23" fmla="*/ 145 h 37"/>
                <a:gd name="T24" fmla="*/ 307 w 21"/>
                <a:gd name="T25" fmla="*/ 435 h 37"/>
                <a:gd name="T26" fmla="*/ 272 w 21"/>
                <a:gd name="T27" fmla="*/ 412 h 37"/>
                <a:gd name="T28" fmla="*/ 234 w 21"/>
                <a:gd name="T29" fmla="*/ 361 h 37"/>
                <a:gd name="T30" fmla="*/ 144 w 21"/>
                <a:gd name="T31" fmla="*/ 481 h 37"/>
                <a:gd name="T32" fmla="*/ 62 w 21"/>
                <a:gd name="T33" fmla="*/ 601 h 37"/>
                <a:gd name="T34" fmla="*/ 30 w 21"/>
                <a:gd name="T35" fmla="*/ 556 h 3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1"/>
                <a:gd name="T55" fmla="*/ 0 h 37"/>
                <a:gd name="T56" fmla="*/ 330 w 21"/>
                <a:gd name="T57" fmla="*/ 601 h 3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1" h="37">
                  <a:moveTo>
                    <a:pt x="2" y="34"/>
                  </a:moveTo>
                  <a:cubicBezTo>
                    <a:pt x="1" y="33"/>
                    <a:pt x="0" y="31"/>
                    <a:pt x="0" y="31"/>
                  </a:cubicBezTo>
                  <a:cubicBezTo>
                    <a:pt x="0" y="30"/>
                    <a:pt x="1" y="30"/>
                    <a:pt x="2" y="30"/>
                  </a:cubicBezTo>
                  <a:cubicBezTo>
                    <a:pt x="4" y="30"/>
                    <a:pt x="5" y="30"/>
                    <a:pt x="6" y="29"/>
                  </a:cubicBezTo>
                  <a:cubicBezTo>
                    <a:pt x="7" y="28"/>
                    <a:pt x="7" y="28"/>
                    <a:pt x="6" y="26"/>
                  </a:cubicBezTo>
                  <a:cubicBezTo>
                    <a:pt x="4" y="23"/>
                    <a:pt x="5" y="22"/>
                    <a:pt x="9" y="20"/>
                  </a:cubicBezTo>
                  <a:cubicBezTo>
                    <a:pt x="13" y="18"/>
                    <a:pt x="16" y="14"/>
                    <a:pt x="15" y="12"/>
                  </a:cubicBezTo>
                  <a:cubicBezTo>
                    <a:pt x="14" y="12"/>
                    <a:pt x="13" y="11"/>
                    <a:pt x="11" y="11"/>
                  </a:cubicBezTo>
                  <a:cubicBezTo>
                    <a:pt x="7" y="11"/>
                    <a:pt x="2" y="8"/>
                    <a:pt x="1" y="4"/>
                  </a:cubicBezTo>
                  <a:cubicBezTo>
                    <a:pt x="1" y="0"/>
                    <a:pt x="2" y="0"/>
                    <a:pt x="5" y="3"/>
                  </a:cubicBezTo>
                  <a:cubicBezTo>
                    <a:pt x="7" y="5"/>
                    <a:pt x="9" y="5"/>
                    <a:pt x="12" y="5"/>
                  </a:cubicBezTo>
                  <a:cubicBezTo>
                    <a:pt x="16" y="5"/>
                    <a:pt x="16" y="6"/>
                    <a:pt x="18" y="9"/>
                  </a:cubicBezTo>
                  <a:cubicBezTo>
                    <a:pt x="20" y="14"/>
                    <a:pt x="21" y="24"/>
                    <a:pt x="20" y="27"/>
                  </a:cubicBezTo>
                  <a:cubicBezTo>
                    <a:pt x="19" y="28"/>
                    <a:pt x="18" y="28"/>
                    <a:pt x="17" y="25"/>
                  </a:cubicBezTo>
                  <a:cubicBezTo>
                    <a:pt x="17" y="24"/>
                    <a:pt x="16" y="22"/>
                    <a:pt x="15" y="22"/>
                  </a:cubicBezTo>
                  <a:cubicBezTo>
                    <a:pt x="14" y="22"/>
                    <a:pt x="12" y="25"/>
                    <a:pt x="9" y="30"/>
                  </a:cubicBezTo>
                  <a:cubicBezTo>
                    <a:pt x="7" y="34"/>
                    <a:pt x="4" y="37"/>
                    <a:pt x="4" y="37"/>
                  </a:cubicBezTo>
                  <a:cubicBezTo>
                    <a:pt x="4" y="37"/>
                    <a:pt x="3" y="36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lose/>
                </a:path>
              </a:pathLst>
            </a:custGeom>
            <a:solidFill>
              <a:srgbClr val="E1EFF6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396" name="Республика Алтай">
              <a:extLst>
                <a:ext uri="{FF2B5EF4-FFF2-40B4-BE49-F238E27FC236}">
                  <a16:creationId xmlns="" xmlns:a16="http://schemas.microsoft.com/office/drawing/2014/main" id="{00000000-0008-0000-0300-000067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7170" y="8221172"/>
              <a:ext cx="792610" cy="700353"/>
            </a:xfrm>
            <a:custGeom>
              <a:avLst/>
              <a:gdLst/>
              <a:ahLst/>
              <a:cxnLst>
                <a:cxn ang="0">
                  <a:pos x="760" y="1204"/>
                </a:cxn>
                <a:cxn ang="0">
                  <a:pos x="660" y="1124"/>
                </a:cxn>
                <a:cxn ang="0">
                  <a:pos x="604" y="1024"/>
                </a:cxn>
                <a:cxn ang="0">
                  <a:pos x="508" y="1001"/>
                </a:cxn>
                <a:cxn ang="0">
                  <a:pos x="260" y="1011"/>
                </a:cxn>
                <a:cxn ang="0">
                  <a:pos x="14" y="684"/>
                </a:cxn>
                <a:cxn ang="0">
                  <a:pos x="60" y="673"/>
                </a:cxn>
                <a:cxn ang="0">
                  <a:pos x="120" y="608"/>
                </a:cxn>
                <a:cxn ang="0">
                  <a:pos x="115" y="528"/>
                </a:cxn>
                <a:cxn ang="0">
                  <a:pos x="169" y="428"/>
                </a:cxn>
                <a:cxn ang="0">
                  <a:pos x="371" y="289"/>
                </a:cxn>
                <a:cxn ang="0">
                  <a:pos x="552" y="208"/>
                </a:cxn>
                <a:cxn ang="0">
                  <a:pos x="652" y="121"/>
                </a:cxn>
                <a:cxn ang="0">
                  <a:pos x="819" y="32"/>
                </a:cxn>
                <a:cxn ang="0">
                  <a:pos x="961" y="72"/>
                </a:cxn>
                <a:cxn ang="0">
                  <a:pos x="913" y="177"/>
                </a:cxn>
                <a:cxn ang="0">
                  <a:pos x="872" y="328"/>
                </a:cxn>
                <a:cxn ang="0">
                  <a:pos x="876" y="440"/>
                </a:cxn>
                <a:cxn ang="0">
                  <a:pos x="947" y="460"/>
                </a:cxn>
                <a:cxn ang="0">
                  <a:pos x="1052" y="457"/>
                </a:cxn>
                <a:cxn ang="0">
                  <a:pos x="1137" y="542"/>
                </a:cxn>
                <a:cxn ang="0">
                  <a:pos x="1222" y="708"/>
                </a:cxn>
                <a:cxn ang="0">
                  <a:pos x="1259" y="769"/>
                </a:cxn>
                <a:cxn ang="0">
                  <a:pos x="1214" y="816"/>
                </a:cxn>
                <a:cxn ang="0">
                  <a:pos x="1168" y="864"/>
                </a:cxn>
                <a:cxn ang="0">
                  <a:pos x="1217" y="920"/>
                </a:cxn>
                <a:cxn ang="0">
                  <a:pos x="1232" y="1028"/>
                </a:cxn>
                <a:cxn ang="0">
                  <a:pos x="1078" y="1067"/>
                </a:cxn>
                <a:cxn ang="0">
                  <a:pos x="896" y="1156"/>
                </a:cxn>
                <a:cxn ang="0">
                  <a:pos x="830" y="1214"/>
                </a:cxn>
                <a:cxn ang="0">
                  <a:pos x="760" y="1204"/>
                </a:cxn>
              </a:cxnLst>
              <a:rect l="0" t="0" r="r" b="b"/>
              <a:pathLst>
                <a:path w="1270" h="1216">
                  <a:moveTo>
                    <a:pt x="760" y="1204"/>
                  </a:moveTo>
                  <a:cubicBezTo>
                    <a:pt x="716" y="1200"/>
                    <a:pt x="697" y="1184"/>
                    <a:pt x="660" y="1124"/>
                  </a:cubicBezTo>
                  <a:cubicBezTo>
                    <a:pt x="633" y="1084"/>
                    <a:pt x="609" y="1038"/>
                    <a:pt x="604" y="1024"/>
                  </a:cubicBezTo>
                  <a:cubicBezTo>
                    <a:pt x="592" y="984"/>
                    <a:pt x="558" y="976"/>
                    <a:pt x="508" y="1001"/>
                  </a:cubicBezTo>
                  <a:cubicBezTo>
                    <a:pt x="464" y="1025"/>
                    <a:pt x="331" y="1030"/>
                    <a:pt x="260" y="1011"/>
                  </a:cubicBezTo>
                  <a:cubicBezTo>
                    <a:pt x="219" y="1000"/>
                    <a:pt x="0" y="708"/>
                    <a:pt x="14" y="684"/>
                  </a:cubicBezTo>
                  <a:cubicBezTo>
                    <a:pt x="19" y="678"/>
                    <a:pt x="40" y="673"/>
                    <a:pt x="60" y="673"/>
                  </a:cubicBezTo>
                  <a:cubicBezTo>
                    <a:pt x="92" y="673"/>
                    <a:pt x="104" y="660"/>
                    <a:pt x="120" y="608"/>
                  </a:cubicBezTo>
                  <a:cubicBezTo>
                    <a:pt x="136" y="552"/>
                    <a:pt x="136" y="539"/>
                    <a:pt x="115" y="528"/>
                  </a:cubicBezTo>
                  <a:cubicBezTo>
                    <a:pt x="27" y="476"/>
                    <a:pt x="28" y="475"/>
                    <a:pt x="169" y="428"/>
                  </a:cubicBezTo>
                  <a:cubicBezTo>
                    <a:pt x="300" y="385"/>
                    <a:pt x="307" y="380"/>
                    <a:pt x="371" y="289"/>
                  </a:cubicBezTo>
                  <a:cubicBezTo>
                    <a:pt x="441" y="188"/>
                    <a:pt x="452" y="184"/>
                    <a:pt x="552" y="208"/>
                  </a:cubicBezTo>
                  <a:cubicBezTo>
                    <a:pt x="622" y="224"/>
                    <a:pt x="635" y="212"/>
                    <a:pt x="652" y="121"/>
                  </a:cubicBezTo>
                  <a:cubicBezTo>
                    <a:pt x="673" y="1"/>
                    <a:pt x="675" y="0"/>
                    <a:pt x="819" y="32"/>
                  </a:cubicBezTo>
                  <a:cubicBezTo>
                    <a:pt x="888" y="48"/>
                    <a:pt x="952" y="65"/>
                    <a:pt x="961" y="72"/>
                  </a:cubicBezTo>
                  <a:cubicBezTo>
                    <a:pt x="987" y="86"/>
                    <a:pt x="966" y="131"/>
                    <a:pt x="913" y="177"/>
                  </a:cubicBezTo>
                  <a:cubicBezTo>
                    <a:pt x="868" y="214"/>
                    <a:pt x="867" y="222"/>
                    <a:pt x="872" y="328"/>
                  </a:cubicBezTo>
                  <a:lnTo>
                    <a:pt x="876" y="440"/>
                  </a:lnTo>
                  <a:lnTo>
                    <a:pt x="947" y="460"/>
                  </a:lnTo>
                  <a:cubicBezTo>
                    <a:pt x="1008" y="476"/>
                    <a:pt x="1024" y="476"/>
                    <a:pt x="1052" y="457"/>
                  </a:cubicBezTo>
                  <a:cubicBezTo>
                    <a:pt x="1086" y="436"/>
                    <a:pt x="1089" y="440"/>
                    <a:pt x="1137" y="542"/>
                  </a:cubicBezTo>
                  <a:cubicBezTo>
                    <a:pt x="1164" y="601"/>
                    <a:pt x="1203" y="676"/>
                    <a:pt x="1222" y="708"/>
                  </a:cubicBezTo>
                  <a:lnTo>
                    <a:pt x="1259" y="769"/>
                  </a:lnTo>
                  <a:lnTo>
                    <a:pt x="1214" y="816"/>
                  </a:lnTo>
                  <a:lnTo>
                    <a:pt x="1168" y="864"/>
                  </a:lnTo>
                  <a:lnTo>
                    <a:pt x="1217" y="920"/>
                  </a:lnTo>
                  <a:cubicBezTo>
                    <a:pt x="1265" y="974"/>
                    <a:pt x="1270" y="1016"/>
                    <a:pt x="1232" y="1028"/>
                  </a:cubicBezTo>
                  <a:cubicBezTo>
                    <a:pt x="1220" y="1033"/>
                    <a:pt x="1152" y="1049"/>
                    <a:pt x="1078" y="1067"/>
                  </a:cubicBezTo>
                  <a:cubicBezTo>
                    <a:pt x="960" y="1094"/>
                    <a:pt x="939" y="1104"/>
                    <a:pt x="896" y="1156"/>
                  </a:cubicBezTo>
                  <a:cubicBezTo>
                    <a:pt x="868" y="1190"/>
                    <a:pt x="840" y="1216"/>
                    <a:pt x="830" y="1214"/>
                  </a:cubicBezTo>
                  <a:cubicBezTo>
                    <a:pt x="820" y="1212"/>
                    <a:pt x="788" y="1209"/>
                    <a:pt x="760" y="1204"/>
                  </a:cubicBezTo>
                  <a:close/>
                </a:path>
              </a:pathLst>
            </a:custGeom>
            <a:solidFill>
              <a:srgbClr val="E1EFF6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97" name="Республика Башкортостан">
              <a:extLst>
                <a:ext uri="{FF2B5EF4-FFF2-40B4-BE49-F238E27FC236}">
                  <a16:creationId xmlns="" xmlns:a16="http://schemas.microsoft.com/office/drawing/2014/main" id="{00000000-0008-0000-0300-000068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4514" y="6387351"/>
              <a:ext cx="882908" cy="1068960"/>
            </a:xfrm>
            <a:custGeom>
              <a:avLst/>
              <a:gdLst/>
              <a:ahLst/>
              <a:cxnLst>
                <a:cxn ang="0">
                  <a:pos x="507" y="1803"/>
                </a:cxn>
                <a:cxn ang="0">
                  <a:pos x="406" y="1771"/>
                </a:cxn>
                <a:cxn ang="0">
                  <a:pos x="237" y="1781"/>
                </a:cxn>
                <a:cxn ang="0">
                  <a:pos x="245" y="1717"/>
                </a:cxn>
                <a:cxn ang="0">
                  <a:pos x="246" y="1627"/>
                </a:cxn>
                <a:cxn ang="0">
                  <a:pos x="259" y="1505"/>
                </a:cxn>
                <a:cxn ang="0">
                  <a:pos x="210" y="1374"/>
                </a:cxn>
                <a:cxn ang="0">
                  <a:pos x="131" y="1374"/>
                </a:cxn>
                <a:cxn ang="0">
                  <a:pos x="139" y="1289"/>
                </a:cxn>
                <a:cxn ang="0">
                  <a:pos x="74" y="1032"/>
                </a:cxn>
                <a:cxn ang="0">
                  <a:pos x="0" y="765"/>
                </a:cxn>
                <a:cxn ang="0">
                  <a:pos x="75" y="557"/>
                </a:cxn>
                <a:cxn ang="0">
                  <a:pos x="160" y="369"/>
                </a:cxn>
                <a:cxn ang="0">
                  <a:pos x="168" y="294"/>
                </a:cxn>
                <a:cxn ang="0">
                  <a:pos x="288" y="257"/>
                </a:cxn>
                <a:cxn ang="0">
                  <a:pos x="418" y="152"/>
                </a:cxn>
                <a:cxn ang="0">
                  <a:pos x="507" y="37"/>
                </a:cxn>
                <a:cxn ang="0">
                  <a:pos x="606" y="0"/>
                </a:cxn>
                <a:cxn ang="0">
                  <a:pos x="646" y="53"/>
                </a:cxn>
                <a:cxn ang="0">
                  <a:pos x="766" y="117"/>
                </a:cxn>
                <a:cxn ang="0">
                  <a:pos x="944" y="275"/>
                </a:cxn>
                <a:cxn ang="0">
                  <a:pos x="1008" y="336"/>
                </a:cxn>
                <a:cxn ang="0">
                  <a:pos x="1080" y="381"/>
                </a:cxn>
                <a:cxn ang="0">
                  <a:pos x="1360" y="521"/>
                </a:cxn>
                <a:cxn ang="0">
                  <a:pos x="1362" y="646"/>
                </a:cxn>
                <a:cxn ang="0">
                  <a:pos x="1333" y="726"/>
                </a:cxn>
                <a:cxn ang="0">
                  <a:pos x="1242" y="731"/>
                </a:cxn>
                <a:cxn ang="0">
                  <a:pos x="1016" y="638"/>
                </a:cxn>
                <a:cxn ang="0">
                  <a:pos x="965" y="606"/>
                </a:cxn>
                <a:cxn ang="0">
                  <a:pos x="768" y="750"/>
                </a:cxn>
                <a:cxn ang="0">
                  <a:pos x="878" y="981"/>
                </a:cxn>
                <a:cxn ang="0">
                  <a:pos x="1203" y="1035"/>
                </a:cxn>
                <a:cxn ang="0">
                  <a:pos x="1290" y="1041"/>
                </a:cxn>
                <a:cxn ang="0">
                  <a:pos x="1258" y="1125"/>
                </a:cxn>
                <a:cxn ang="0">
                  <a:pos x="1168" y="1179"/>
                </a:cxn>
                <a:cxn ang="0">
                  <a:pos x="1083" y="1171"/>
                </a:cxn>
                <a:cxn ang="0">
                  <a:pos x="880" y="1358"/>
                </a:cxn>
                <a:cxn ang="0">
                  <a:pos x="806" y="1550"/>
                </a:cxn>
                <a:cxn ang="0">
                  <a:pos x="699" y="1729"/>
                </a:cxn>
                <a:cxn ang="0">
                  <a:pos x="632" y="1793"/>
                </a:cxn>
                <a:cxn ang="0">
                  <a:pos x="584" y="1853"/>
                </a:cxn>
                <a:cxn ang="0">
                  <a:pos x="507" y="1803"/>
                </a:cxn>
              </a:cxnLst>
              <a:rect l="0" t="0" r="r" b="b"/>
              <a:pathLst>
                <a:path w="1400" h="1854">
                  <a:moveTo>
                    <a:pt x="507" y="1803"/>
                  </a:moveTo>
                  <a:cubicBezTo>
                    <a:pt x="454" y="1760"/>
                    <a:pt x="442" y="1755"/>
                    <a:pt x="406" y="1771"/>
                  </a:cubicBezTo>
                  <a:cubicBezTo>
                    <a:pt x="365" y="1790"/>
                    <a:pt x="253" y="1797"/>
                    <a:pt x="237" y="1781"/>
                  </a:cubicBezTo>
                  <a:cubicBezTo>
                    <a:pt x="232" y="1776"/>
                    <a:pt x="235" y="1747"/>
                    <a:pt x="245" y="1717"/>
                  </a:cubicBezTo>
                  <a:cubicBezTo>
                    <a:pt x="256" y="1681"/>
                    <a:pt x="256" y="1651"/>
                    <a:pt x="246" y="1627"/>
                  </a:cubicBezTo>
                  <a:cubicBezTo>
                    <a:pt x="235" y="1601"/>
                    <a:pt x="238" y="1568"/>
                    <a:pt x="259" y="1505"/>
                  </a:cubicBezTo>
                  <a:cubicBezTo>
                    <a:pt x="301" y="1377"/>
                    <a:pt x="301" y="1374"/>
                    <a:pt x="210" y="1374"/>
                  </a:cubicBezTo>
                  <a:lnTo>
                    <a:pt x="131" y="1374"/>
                  </a:lnTo>
                  <a:lnTo>
                    <a:pt x="139" y="1289"/>
                  </a:lnTo>
                  <a:cubicBezTo>
                    <a:pt x="147" y="1214"/>
                    <a:pt x="139" y="1185"/>
                    <a:pt x="74" y="1032"/>
                  </a:cubicBezTo>
                  <a:cubicBezTo>
                    <a:pt x="14" y="891"/>
                    <a:pt x="0" y="841"/>
                    <a:pt x="0" y="765"/>
                  </a:cubicBezTo>
                  <a:cubicBezTo>
                    <a:pt x="0" y="678"/>
                    <a:pt x="6" y="659"/>
                    <a:pt x="75" y="557"/>
                  </a:cubicBezTo>
                  <a:cubicBezTo>
                    <a:pt x="128" y="477"/>
                    <a:pt x="154" y="421"/>
                    <a:pt x="160" y="369"/>
                  </a:cubicBezTo>
                  <a:lnTo>
                    <a:pt x="168" y="294"/>
                  </a:lnTo>
                  <a:lnTo>
                    <a:pt x="288" y="257"/>
                  </a:lnTo>
                  <a:cubicBezTo>
                    <a:pt x="432" y="213"/>
                    <a:pt x="445" y="203"/>
                    <a:pt x="418" y="152"/>
                  </a:cubicBezTo>
                  <a:cubicBezTo>
                    <a:pt x="386" y="94"/>
                    <a:pt x="400" y="78"/>
                    <a:pt x="507" y="37"/>
                  </a:cubicBezTo>
                  <a:lnTo>
                    <a:pt x="606" y="0"/>
                  </a:lnTo>
                  <a:lnTo>
                    <a:pt x="646" y="53"/>
                  </a:lnTo>
                  <a:cubicBezTo>
                    <a:pt x="678" y="96"/>
                    <a:pt x="701" y="107"/>
                    <a:pt x="766" y="117"/>
                  </a:cubicBezTo>
                  <a:cubicBezTo>
                    <a:pt x="851" y="128"/>
                    <a:pt x="886" y="160"/>
                    <a:pt x="944" y="275"/>
                  </a:cubicBezTo>
                  <a:cubicBezTo>
                    <a:pt x="957" y="301"/>
                    <a:pt x="986" y="328"/>
                    <a:pt x="1008" y="336"/>
                  </a:cubicBezTo>
                  <a:cubicBezTo>
                    <a:pt x="1030" y="345"/>
                    <a:pt x="1062" y="365"/>
                    <a:pt x="1080" y="381"/>
                  </a:cubicBezTo>
                  <a:cubicBezTo>
                    <a:pt x="1141" y="435"/>
                    <a:pt x="1328" y="529"/>
                    <a:pt x="1360" y="521"/>
                  </a:cubicBezTo>
                  <a:cubicBezTo>
                    <a:pt x="1400" y="510"/>
                    <a:pt x="1400" y="536"/>
                    <a:pt x="1362" y="646"/>
                  </a:cubicBezTo>
                  <a:lnTo>
                    <a:pt x="1333" y="726"/>
                  </a:lnTo>
                  <a:lnTo>
                    <a:pt x="1242" y="731"/>
                  </a:lnTo>
                  <a:cubicBezTo>
                    <a:pt x="1146" y="736"/>
                    <a:pt x="1080" y="709"/>
                    <a:pt x="1016" y="638"/>
                  </a:cubicBezTo>
                  <a:cubicBezTo>
                    <a:pt x="1000" y="621"/>
                    <a:pt x="978" y="606"/>
                    <a:pt x="965" y="606"/>
                  </a:cubicBezTo>
                  <a:cubicBezTo>
                    <a:pt x="925" y="606"/>
                    <a:pt x="768" y="721"/>
                    <a:pt x="768" y="750"/>
                  </a:cubicBezTo>
                  <a:cubicBezTo>
                    <a:pt x="768" y="800"/>
                    <a:pt x="851" y="973"/>
                    <a:pt x="878" y="981"/>
                  </a:cubicBezTo>
                  <a:cubicBezTo>
                    <a:pt x="987" y="1013"/>
                    <a:pt x="1141" y="1038"/>
                    <a:pt x="1203" y="1035"/>
                  </a:cubicBezTo>
                  <a:cubicBezTo>
                    <a:pt x="1245" y="1033"/>
                    <a:pt x="1285" y="1037"/>
                    <a:pt x="1290" y="1041"/>
                  </a:cubicBezTo>
                  <a:cubicBezTo>
                    <a:pt x="1296" y="1048"/>
                    <a:pt x="1282" y="1085"/>
                    <a:pt x="1258" y="1125"/>
                  </a:cubicBezTo>
                  <a:cubicBezTo>
                    <a:pt x="1218" y="1193"/>
                    <a:pt x="1214" y="1195"/>
                    <a:pt x="1168" y="1179"/>
                  </a:cubicBezTo>
                  <a:cubicBezTo>
                    <a:pt x="1141" y="1169"/>
                    <a:pt x="1104" y="1166"/>
                    <a:pt x="1083" y="1171"/>
                  </a:cubicBezTo>
                  <a:cubicBezTo>
                    <a:pt x="1042" y="1182"/>
                    <a:pt x="880" y="1331"/>
                    <a:pt x="880" y="1358"/>
                  </a:cubicBezTo>
                  <a:cubicBezTo>
                    <a:pt x="880" y="1369"/>
                    <a:pt x="848" y="1456"/>
                    <a:pt x="806" y="1550"/>
                  </a:cubicBezTo>
                  <a:cubicBezTo>
                    <a:pt x="749" y="1688"/>
                    <a:pt x="726" y="1725"/>
                    <a:pt x="699" y="1729"/>
                  </a:cubicBezTo>
                  <a:cubicBezTo>
                    <a:pt x="678" y="1731"/>
                    <a:pt x="651" y="1757"/>
                    <a:pt x="632" y="1793"/>
                  </a:cubicBezTo>
                  <a:cubicBezTo>
                    <a:pt x="614" y="1827"/>
                    <a:pt x="594" y="1854"/>
                    <a:pt x="584" y="1853"/>
                  </a:cubicBezTo>
                  <a:cubicBezTo>
                    <a:pt x="576" y="1853"/>
                    <a:pt x="541" y="1830"/>
                    <a:pt x="507" y="1803"/>
                  </a:cubicBezTo>
                  <a:close/>
                </a:path>
              </a:pathLst>
            </a:custGeom>
            <a:solidFill>
              <a:srgbClr val="3072C2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98" name="Республика Бурятия">
              <a:extLst>
                <a:ext uri="{FF2B5EF4-FFF2-40B4-BE49-F238E27FC236}">
                  <a16:creationId xmlns="" xmlns:a16="http://schemas.microsoft.com/office/drawing/2014/main" id="{00000000-0008-0000-0300-000069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04009" y="6700667"/>
              <a:ext cx="2227335" cy="1843035"/>
            </a:xfrm>
            <a:custGeom>
              <a:avLst/>
              <a:gdLst/>
              <a:ahLst/>
              <a:cxnLst>
                <a:cxn ang="0">
                  <a:pos x="940" y="3122"/>
                </a:cxn>
                <a:cxn ang="0">
                  <a:pos x="833" y="2834"/>
                </a:cxn>
                <a:cxn ang="0">
                  <a:pos x="9" y="2539"/>
                </a:cxn>
                <a:cxn ang="0">
                  <a:pos x="174" y="2318"/>
                </a:cxn>
                <a:cxn ang="0">
                  <a:pos x="516" y="2454"/>
                </a:cxn>
                <a:cxn ang="0">
                  <a:pos x="934" y="2614"/>
                </a:cxn>
                <a:cxn ang="0">
                  <a:pos x="1076" y="2776"/>
                </a:cxn>
                <a:cxn ang="0">
                  <a:pos x="1203" y="2866"/>
                </a:cxn>
                <a:cxn ang="0">
                  <a:pos x="1396" y="2704"/>
                </a:cxn>
                <a:cxn ang="0">
                  <a:pos x="1619" y="2378"/>
                </a:cxn>
                <a:cxn ang="0">
                  <a:pos x="2003" y="1782"/>
                </a:cxn>
                <a:cxn ang="0">
                  <a:pos x="1947" y="1206"/>
                </a:cxn>
                <a:cxn ang="0">
                  <a:pos x="1849" y="784"/>
                </a:cxn>
                <a:cxn ang="0">
                  <a:pos x="1996" y="557"/>
                </a:cxn>
                <a:cxn ang="0">
                  <a:pos x="2276" y="408"/>
                </a:cxn>
                <a:cxn ang="0">
                  <a:pos x="2467" y="387"/>
                </a:cxn>
                <a:cxn ang="0">
                  <a:pos x="2702" y="426"/>
                </a:cxn>
                <a:cxn ang="0">
                  <a:pos x="2958" y="206"/>
                </a:cxn>
                <a:cxn ang="0">
                  <a:pos x="3092" y="94"/>
                </a:cxn>
                <a:cxn ang="0">
                  <a:pos x="3344" y="658"/>
                </a:cxn>
                <a:cxn ang="0">
                  <a:pos x="3556" y="826"/>
                </a:cxn>
                <a:cxn ang="0">
                  <a:pos x="3235" y="1218"/>
                </a:cxn>
                <a:cxn ang="0">
                  <a:pos x="3201" y="1562"/>
                </a:cxn>
                <a:cxn ang="0">
                  <a:pos x="2985" y="1946"/>
                </a:cxn>
                <a:cxn ang="0">
                  <a:pos x="2788" y="2186"/>
                </a:cxn>
                <a:cxn ang="0">
                  <a:pos x="2592" y="2363"/>
                </a:cxn>
                <a:cxn ang="0">
                  <a:pos x="2358" y="2451"/>
                </a:cxn>
                <a:cxn ang="0">
                  <a:pos x="2230" y="2592"/>
                </a:cxn>
                <a:cxn ang="0">
                  <a:pos x="2238" y="2824"/>
                </a:cxn>
                <a:cxn ang="0">
                  <a:pos x="2240" y="2891"/>
                </a:cxn>
                <a:cxn ang="0">
                  <a:pos x="1984" y="3024"/>
                </a:cxn>
                <a:cxn ang="0">
                  <a:pos x="1553" y="3019"/>
                </a:cxn>
                <a:cxn ang="0">
                  <a:pos x="1267" y="3194"/>
                </a:cxn>
              </a:cxnLst>
              <a:rect l="0" t="0" r="r" b="b"/>
              <a:pathLst>
                <a:path w="3556" h="3194">
                  <a:moveTo>
                    <a:pt x="1084" y="3157"/>
                  </a:moveTo>
                  <a:lnTo>
                    <a:pt x="940" y="3122"/>
                  </a:lnTo>
                  <a:lnTo>
                    <a:pt x="891" y="2981"/>
                  </a:lnTo>
                  <a:cubicBezTo>
                    <a:pt x="862" y="2904"/>
                    <a:pt x="836" y="2838"/>
                    <a:pt x="833" y="2834"/>
                  </a:cubicBezTo>
                  <a:cubicBezTo>
                    <a:pt x="820" y="2822"/>
                    <a:pt x="161" y="2680"/>
                    <a:pt x="104" y="2677"/>
                  </a:cubicBezTo>
                  <a:cubicBezTo>
                    <a:pt x="28" y="2672"/>
                    <a:pt x="0" y="2629"/>
                    <a:pt x="9" y="2539"/>
                  </a:cubicBezTo>
                  <a:cubicBezTo>
                    <a:pt x="16" y="2490"/>
                    <a:pt x="28" y="2459"/>
                    <a:pt x="56" y="2440"/>
                  </a:cubicBezTo>
                  <a:cubicBezTo>
                    <a:pt x="99" y="2406"/>
                    <a:pt x="96" y="2410"/>
                    <a:pt x="174" y="2318"/>
                  </a:cubicBezTo>
                  <a:cubicBezTo>
                    <a:pt x="246" y="2235"/>
                    <a:pt x="296" y="2232"/>
                    <a:pt x="308" y="2307"/>
                  </a:cubicBezTo>
                  <a:cubicBezTo>
                    <a:pt x="316" y="2350"/>
                    <a:pt x="336" y="2365"/>
                    <a:pt x="516" y="2454"/>
                  </a:cubicBezTo>
                  <a:cubicBezTo>
                    <a:pt x="654" y="2522"/>
                    <a:pt x="736" y="2554"/>
                    <a:pt x="779" y="2554"/>
                  </a:cubicBezTo>
                  <a:cubicBezTo>
                    <a:pt x="824" y="2554"/>
                    <a:pt x="870" y="2573"/>
                    <a:pt x="934" y="2614"/>
                  </a:cubicBezTo>
                  <a:cubicBezTo>
                    <a:pt x="1017" y="2667"/>
                    <a:pt x="1027" y="2680"/>
                    <a:pt x="1024" y="2723"/>
                  </a:cubicBezTo>
                  <a:cubicBezTo>
                    <a:pt x="1020" y="2766"/>
                    <a:pt x="1025" y="2771"/>
                    <a:pt x="1076" y="2776"/>
                  </a:cubicBezTo>
                  <a:cubicBezTo>
                    <a:pt x="1113" y="2779"/>
                    <a:pt x="1144" y="2794"/>
                    <a:pt x="1168" y="2822"/>
                  </a:cubicBezTo>
                  <a:lnTo>
                    <a:pt x="1203" y="2866"/>
                  </a:lnTo>
                  <a:lnTo>
                    <a:pt x="1276" y="2829"/>
                  </a:lnTo>
                  <a:cubicBezTo>
                    <a:pt x="1369" y="2782"/>
                    <a:pt x="1396" y="2754"/>
                    <a:pt x="1396" y="2704"/>
                  </a:cubicBezTo>
                  <a:cubicBezTo>
                    <a:pt x="1396" y="2677"/>
                    <a:pt x="1430" y="2626"/>
                    <a:pt x="1499" y="2549"/>
                  </a:cubicBezTo>
                  <a:cubicBezTo>
                    <a:pt x="1555" y="2486"/>
                    <a:pt x="1609" y="2408"/>
                    <a:pt x="1619" y="2378"/>
                  </a:cubicBezTo>
                  <a:cubicBezTo>
                    <a:pt x="1635" y="2330"/>
                    <a:pt x="1758" y="2176"/>
                    <a:pt x="1958" y="1958"/>
                  </a:cubicBezTo>
                  <a:cubicBezTo>
                    <a:pt x="1976" y="1939"/>
                    <a:pt x="1992" y="1877"/>
                    <a:pt x="2003" y="1782"/>
                  </a:cubicBezTo>
                  <a:cubicBezTo>
                    <a:pt x="2040" y="1462"/>
                    <a:pt x="2041" y="1424"/>
                    <a:pt x="2016" y="1384"/>
                  </a:cubicBezTo>
                  <a:cubicBezTo>
                    <a:pt x="2003" y="1363"/>
                    <a:pt x="1971" y="1283"/>
                    <a:pt x="1947" y="1206"/>
                  </a:cubicBezTo>
                  <a:cubicBezTo>
                    <a:pt x="1902" y="1067"/>
                    <a:pt x="1902" y="1066"/>
                    <a:pt x="1928" y="970"/>
                  </a:cubicBezTo>
                  <a:cubicBezTo>
                    <a:pt x="1956" y="862"/>
                    <a:pt x="1963" y="877"/>
                    <a:pt x="1849" y="784"/>
                  </a:cubicBezTo>
                  <a:cubicBezTo>
                    <a:pt x="1795" y="741"/>
                    <a:pt x="1817" y="690"/>
                    <a:pt x="1910" y="642"/>
                  </a:cubicBezTo>
                  <a:cubicBezTo>
                    <a:pt x="1966" y="613"/>
                    <a:pt x="1988" y="592"/>
                    <a:pt x="1996" y="557"/>
                  </a:cubicBezTo>
                  <a:cubicBezTo>
                    <a:pt x="2006" y="514"/>
                    <a:pt x="2011" y="510"/>
                    <a:pt x="2121" y="501"/>
                  </a:cubicBezTo>
                  <a:cubicBezTo>
                    <a:pt x="2240" y="491"/>
                    <a:pt x="2276" y="469"/>
                    <a:pt x="2276" y="408"/>
                  </a:cubicBezTo>
                  <a:cubicBezTo>
                    <a:pt x="2276" y="374"/>
                    <a:pt x="2292" y="373"/>
                    <a:pt x="2377" y="395"/>
                  </a:cubicBezTo>
                  <a:cubicBezTo>
                    <a:pt x="2428" y="410"/>
                    <a:pt x="2444" y="408"/>
                    <a:pt x="2467" y="387"/>
                  </a:cubicBezTo>
                  <a:cubicBezTo>
                    <a:pt x="2505" y="354"/>
                    <a:pt x="2524" y="357"/>
                    <a:pt x="2545" y="403"/>
                  </a:cubicBezTo>
                  <a:cubicBezTo>
                    <a:pt x="2566" y="448"/>
                    <a:pt x="2568" y="448"/>
                    <a:pt x="2702" y="426"/>
                  </a:cubicBezTo>
                  <a:cubicBezTo>
                    <a:pt x="2784" y="411"/>
                    <a:pt x="2817" y="395"/>
                    <a:pt x="2875" y="344"/>
                  </a:cubicBezTo>
                  <a:cubicBezTo>
                    <a:pt x="2934" y="293"/>
                    <a:pt x="2948" y="269"/>
                    <a:pt x="2958" y="206"/>
                  </a:cubicBezTo>
                  <a:cubicBezTo>
                    <a:pt x="2966" y="149"/>
                    <a:pt x="2982" y="118"/>
                    <a:pt x="3027" y="78"/>
                  </a:cubicBezTo>
                  <a:cubicBezTo>
                    <a:pt x="3112" y="0"/>
                    <a:pt x="3158" y="11"/>
                    <a:pt x="3092" y="94"/>
                  </a:cubicBezTo>
                  <a:cubicBezTo>
                    <a:pt x="3046" y="155"/>
                    <a:pt x="3052" y="219"/>
                    <a:pt x="3121" y="350"/>
                  </a:cubicBezTo>
                  <a:cubicBezTo>
                    <a:pt x="3228" y="557"/>
                    <a:pt x="3294" y="646"/>
                    <a:pt x="3344" y="658"/>
                  </a:cubicBezTo>
                  <a:cubicBezTo>
                    <a:pt x="3368" y="662"/>
                    <a:pt x="3427" y="690"/>
                    <a:pt x="3473" y="715"/>
                  </a:cubicBezTo>
                  <a:cubicBezTo>
                    <a:pt x="3552" y="760"/>
                    <a:pt x="3556" y="768"/>
                    <a:pt x="3556" y="826"/>
                  </a:cubicBezTo>
                  <a:cubicBezTo>
                    <a:pt x="3556" y="878"/>
                    <a:pt x="3550" y="890"/>
                    <a:pt x="3508" y="907"/>
                  </a:cubicBezTo>
                  <a:cubicBezTo>
                    <a:pt x="3452" y="930"/>
                    <a:pt x="3360" y="1035"/>
                    <a:pt x="3235" y="1218"/>
                  </a:cubicBezTo>
                  <a:cubicBezTo>
                    <a:pt x="3187" y="1286"/>
                    <a:pt x="3140" y="1355"/>
                    <a:pt x="3129" y="1370"/>
                  </a:cubicBezTo>
                  <a:cubicBezTo>
                    <a:pt x="3096" y="1414"/>
                    <a:pt x="3140" y="1534"/>
                    <a:pt x="3201" y="1562"/>
                  </a:cubicBezTo>
                  <a:cubicBezTo>
                    <a:pt x="3291" y="1602"/>
                    <a:pt x="3283" y="1662"/>
                    <a:pt x="3166" y="1802"/>
                  </a:cubicBezTo>
                  <a:cubicBezTo>
                    <a:pt x="3118" y="1861"/>
                    <a:pt x="3059" y="1907"/>
                    <a:pt x="2985" y="1946"/>
                  </a:cubicBezTo>
                  <a:cubicBezTo>
                    <a:pt x="2884" y="1998"/>
                    <a:pt x="2876" y="2008"/>
                    <a:pt x="2864" y="2069"/>
                  </a:cubicBezTo>
                  <a:cubicBezTo>
                    <a:pt x="2854" y="2118"/>
                    <a:pt x="2835" y="2147"/>
                    <a:pt x="2788" y="2186"/>
                  </a:cubicBezTo>
                  <a:cubicBezTo>
                    <a:pt x="2753" y="2213"/>
                    <a:pt x="2710" y="2266"/>
                    <a:pt x="2692" y="2299"/>
                  </a:cubicBezTo>
                  <a:cubicBezTo>
                    <a:pt x="2662" y="2358"/>
                    <a:pt x="2656" y="2363"/>
                    <a:pt x="2592" y="2363"/>
                  </a:cubicBezTo>
                  <a:cubicBezTo>
                    <a:pt x="2540" y="2363"/>
                    <a:pt x="2507" y="2374"/>
                    <a:pt x="2456" y="2411"/>
                  </a:cubicBezTo>
                  <a:cubicBezTo>
                    <a:pt x="2412" y="2445"/>
                    <a:pt x="2379" y="2458"/>
                    <a:pt x="2358" y="2451"/>
                  </a:cubicBezTo>
                  <a:cubicBezTo>
                    <a:pt x="2316" y="2438"/>
                    <a:pt x="2212" y="2490"/>
                    <a:pt x="2212" y="2525"/>
                  </a:cubicBezTo>
                  <a:cubicBezTo>
                    <a:pt x="2212" y="2541"/>
                    <a:pt x="2220" y="2571"/>
                    <a:pt x="2230" y="2592"/>
                  </a:cubicBezTo>
                  <a:cubicBezTo>
                    <a:pt x="2246" y="2626"/>
                    <a:pt x="2243" y="2640"/>
                    <a:pt x="2214" y="2680"/>
                  </a:cubicBezTo>
                  <a:cubicBezTo>
                    <a:pt x="2164" y="2750"/>
                    <a:pt x="2171" y="2789"/>
                    <a:pt x="2238" y="2824"/>
                  </a:cubicBezTo>
                  <a:lnTo>
                    <a:pt x="2296" y="2853"/>
                  </a:lnTo>
                  <a:lnTo>
                    <a:pt x="2240" y="2891"/>
                  </a:lnTo>
                  <a:cubicBezTo>
                    <a:pt x="2198" y="2920"/>
                    <a:pt x="2180" y="2944"/>
                    <a:pt x="2174" y="2990"/>
                  </a:cubicBezTo>
                  <a:cubicBezTo>
                    <a:pt x="2163" y="3061"/>
                    <a:pt x="2153" y="3062"/>
                    <a:pt x="1984" y="3024"/>
                  </a:cubicBezTo>
                  <a:cubicBezTo>
                    <a:pt x="1897" y="3005"/>
                    <a:pt x="1830" y="3002"/>
                    <a:pt x="1712" y="3008"/>
                  </a:cubicBezTo>
                  <a:lnTo>
                    <a:pt x="1553" y="3019"/>
                  </a:lnTo>
                  <a:lnTo>
                    <a:pt x="1428" y="3107"/>
                  </a:lnTo>
                  <a:cubicBezTo>
                    <a:pt x="1355" y="3158"/>
                    <a:pt x="1288" y="3194"/>
                    <a:pt x="1267" y="3194"/>
                  </a:cubicBezTo>
                  <a:cubicBezTo>
                    <a:pt x="1246" y="3192"/>
                    <a:pt x="1164" y="3176"/>
                    <a:pt x="1084" y="3157"/>
                  </a:cubicBezTo>
                  <a:close/>
                </a:path>
              </a:pathLst>
            </a:custGeom>
            <a:solidFill>
              <a:srgbClr val="3072C2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99" name="Республика Дагестан">
              <a:extLst>
                <a:ext uri="{FF2B5EF4-FFF2-40B4-BE49-F238E27FC236}">
                  <a16:creationId xmlns="" xmlns:a16="http://schemas.microsoft.com/office/drawing/2014/main" id="{00000000-0008-0000-0300-00006A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6353" y="7797273"/>
              <a:ext cx="471553" cy="810935"/>
            </a:xfrm>
            <a:custGeom>
              <a:avLst/>
              <a:gdLst/>
              <a:ahLst/>
              <a:cxnLst>
                <a:cxn ang="0">
                  <a:pos x="170" y="1376"/>
                </a:cxn>
                <a:cxn ang="0">
                  <a:pos x="160" y="1229"/>
                </a:cxn>
                <a:cxn ang="0">
                  <a:pos x="78" y="996"/>
                </a:cxn>
                <a:cxn ang="0">
                  <a:pos x="10" y="813"/>
                </a:cxn>
                <a:cxn ang="0">
                  <a:pos x="208" y="725"/>
                </a:cxn>
                <a:cxn ang="0">
                  <a:pos x="368" y="621"/>
                </a:cxn>
                <a:cxn ang="0">
                  <a:pos x="427" y="540"/>
                </a:cxn>
                <a:cxn ang="0">
                  <a:pos x="509" y="423"/>
                </a:cxn>
                <a:cxn ang="0">
                  <a:pos x="461" y="360"/>
                </a:cxn>
                <a:cxn ang="0">
                  <a:pos x="323" y="210"/>
                </a:cxn>
                <a:cxn ang="0">
                  <a:pos x="288" y="152"/>
                </a:cxn>
                <a:cxn ang="0">
                  <a:pos x="426" y="77"/>
                </a:cxn>
                <a:cxn ang="0">
                  <a:pos x="563" y="0"/>
                </a:cxn>
                <a:cxn ang="0">
                  <a:pos x="650" y="87"/>
                </a:cxn>
                <a:cxn ang="0">
                  <a:pos x="709" y="208"/>
                </a:cxn>
                <a:cxn ang="0">
                  <a:pos x="635" y="437"/>
                </a:cxn>
                <a:cxn ang="0">
                  <a:pos x="526" y="781"/>
                </a:cxn>
                <a:cxn ang="0">
                  <a:pos x="466" y="863"/>
                </a:cxn>
                <a:cxn ang="0">
                  <a:pos x="461" y="1117"/>
                </a:cxn>
                <a:cxn ang="0">
                  <a:pos x="456" y="1373"/>
                </a:cxn>
                <a:cxn ang="0">
                  <a:pos x="376" y="1391"/>
                </a:cxn>
                <a:cxn ang="0">
                  <a:pos x="238" y="1412"/>
                </a:cxn>
                <a:cxn ang="0">
                  <a:pos x="170" y="1376"/>
                </a:cxn>
              </a:cxnLst>
              <a:rect l="0" t="0" r="r" b="b"/>
              <a:pathLst>
                <a:path w="750" h="1413">
                  <a:moveTo>
                    <a:pt x="170" y="1376"/>
                  </a:moveTo>
                  <a:cubicBezTo>
                    <a:pt x="165" y="1357"/>
                    <a:pt x="160" y="1290"/>
                    <a:pt x="160" y="1229"/>
                  </a:cubicBezTo>
                  <a:cubicBezTo>
                    <a:pt x="160" y="1124"/>
                    <a:pt x="157" y="1114"/>
                    <a:pt x="78" y="996"/>
                  </a:cubicBezTo>
                  <a:cubicBezTo>
                    <a:pt x="6" y="885"/>
                    <a:pt x="0" y="866"/>
                    <a:pt x="10" y="813"/>
                  </a:cubicBezTo>
                  <a:cubicBezTo>
                    <a:pt x="22" y="741"/>
                    <a:pt x="58" y="725"/>
                    <a:pt x="208" y="725"/>
                  </a:cubicBezTo>
                  <a:cubicBezTo>
                    <a:pt x="328" y="725"/>
                    <a:pt x="330" y="724"/>
                    <a:pt x="368" y="621"/>
                  </a:cubicBezTo>
                  <a:cubicBezTo>
                    <a:pt x="382" y="586"/>
                    <a:pt x="408" y="549"/>
                    <a:pt x="427" y="540"/>
                  </a:cubicBezTo>
                  <a:cubicBezTo>
                    <a:pt x="498" y="506"/>
                    <a:pt x="514" y="480"/>
                    <a:pt x="509" y="423"/>
                  </a:cubicBezTo>
                  <a:cubicBezTo>
                    <a:pt x="506" y="373"/>
                    <a:pt x="498" y="364"/>
                    <a:pt x="461" y="360"/>
                  </a:cubicBezTo>
                  <a:cubicBezTo>
                    <a:pt x="418" y="354"/>
                    <a:pt x="395" y="330"/>
                    <a:pt x="323" y="210"/>
                  </a:cubicBezTo>
                  <a:lnTo>
                    <a:pt x="288" y="152"/>
                  </a:lnTo>
                  <a:lnTo>
                    <a:pt x="426" y="77"/>
                  </a:lnTo>
                  <a:lnTo>
                    <a:pt x="563" y="0"/>
                  </a:lnTo>
                  <a:lnTo>
                    <a:pt x="650" y="87"/>
                  </a:lnTo>
                  <a:cubicBezTo>
                    <a:pt x="744" y="180"/>
                    <a:pt x="750" y="192"/>
                    <a:pt x="709" y="208"/>
                  </a:cubicBezTo>
                  <a:cubicBezTo>
                    <a:pt x="630" y="236"/>
                    <a:pt x="624" y="255"/>
                    <a:pt x="635" y="437"/>
                  </a:cubicBezTo>
                  <a:cubicBezTo>
                    <a:pt x="646" y="629"/>
                    <a:pt x="648" y="621"/>
                    <a:pt x="526" y="781"/>
                  </a:cubicBezTo>
                  <a:lnTo>
                    <a:pt x="466" y="863"/>
                  </a:lnTo>
                  <a:lnTo>
                    <a:pt x="461" y="1117"/>
                  </a:lnTo>
                  <a:lnTo>
                    <a:pt x="456" y="1373"/>
                  </a:lnTo>
                  <a:lnTo>
                    <a:pt x="376" y="1391"/>
                  </a:lnTo>
                  <a:cubicBezTo>
                    <a:pt x="333" y="1402"/>
                    <a:pt x="270" y="1410"/>
                    <a:pt x="238" y="1412"/>
                  </a:cubicBezTo>
                  <a:cubicBezTo>
                    <a:pt x="190" y="1413"/>
                    <a:pt x="178" y="1407"/>
                    <a:pt x="170" y="1376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00" name="Республика Ингушетия">
              <a:extLst>
                <a:ext uri="{FF2B5EF4-FFF2-40B4-BE49-F238E27FC236}">
                  <a16:creationId xmlns="" xmlns:a16="http://schemas.microsoft.com/office/drawing/2014/main" id="{00000000-0008-0000-0300-00006B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188" y="7935501"/>
              <a:ext cx="250826" cy="175089"/>
            </a:xfrm>
            <a:custGeom>
              <a:avLst/>
              <a:gdLst/>
              <a:ahLst/>
              <a:cxnLst>
                <a:cxn ang="0">
                  <a:pos x="6" y="280"/>
                </a:cxn>
                <a:cxn ang="0">
                  <a:pos x="32" y="216"/>
                </a:cxn>
                <a:cxn ang="0">
                  <a:pos x="58" y="88"/>
                </a:cxn>
                <a:cxn ang="0">
                  <a:pos x="46" y="0"/>
                </a:cxn>
                <a:cxn ang="0">
                  <a:pos x="165" y="0"/>
                </a:cxn>
                <a:cxn ang="0">
                  <a:pos x="390" y="40"/>
                </a:cxn>
                <a:cxn ang="0">
                  <a:pos x="53" y="285"/>
                </a:cxn>
                <a:cxn ang="0">
                  <a:pos x="6" y="280"/>
                </a:cxn>
              </a:cxnLst>
              <a:rect l="0" t="0" r="r" b="b"/>
              <a:pathLst>
                <a:path w="397" h="304">
                  <a:moveTo>
                    <a:pt x="6" y="280"/>
                  </a:moveTo>
                  <a:cubicBezTo>
                    <a:pt x="0" y="264"/>
                    <a:pt x="10" y="239"/>
                    <a:pt x="32" y="216"/>
                  </a:cubicBezTo>
                  <a:cubicBezTo>
                    <a:pt x="64" y="183"/>
                    <a:pt x="67" y="167"/>
                    <a:pt x="58" y="88"/>
                  </a:cubicBezTo>
                  <a:lnTo>
                    <a:pt x="46" y="0"/>
                  </a:lnTo>
                  <a:lnTo>
                    <a:pt x="165" y="0"/>
                  </a:lnTo>
                  <a:cubicBezTo>
                    <a:pt x="309" y="0"/>
                    <a:pt x="379" y="13"/>
                    <a:pt x="390" y="40"/>
                  </a:cubicBezTo>
                  <a:cubicBezTo>
                    <a:pt x="397" y="58"/>
                    <a:pt x="331" y="104"/>
                    <a:pt x="53" y="285"/>
                  </a:cubicBezTo>
                  <a:cubicBezTo>
                    <a:pt x="21" y="304"/>
                    <a:pt x="16" y="304"/>
                    <a:pt x="6" y="280"/>
                  </a:cubicBezTo>
                  <a:close/>
                </a:path>
              </a:pathLst>
            </a:custGeom>
            <a:solidFill>
              <a:srgbClr val="E1EFF6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01" name="Республика Калмыкия">
              <a:extLst>
                <a:ext uri="{FF2B5EF4-FFF2-40B4-BE49-F238E27FC236}">
                  <a16:creationId xmlns="" xmlns:a16="http://schemas.microsoft.com/office/drawing/2014/main" id="{00000000-0008-0000-0300-00006C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6353" y="7133780"/>
              <a:ext cx="812676" cy="764859"/>
            </a:xfrm>
            <a:custGeom>
              <a:avLst/>
              <a:gdLst/>
              <a:ahLst/>
              <a:cxnLst>
                <a:cxn ang="0">
                  <a:pos x="712" y="1232"/>
                </a:cxn>
                <a:cxn ang="0">
                  <a:pos x="587" y="1045"/>
                </a:cxn>
                <a:cxn ang="0">
                  <a:pos x="501" y="824"/>
                </a:cxn>
                <a:cxn ang="0">
                  <a:pos x="435" y="639"/>
                </a:cxn>
                <a:cxn ang="0">
                  <a:pos x="282" y="338"/>
                </a:cxn>
                <a:cxn ang="0">
                  <a:pos x="199" y="309"/>
                </a:cxn>
                <a:cxn ang="0">
                  <a:pos x="138" y="272"/>
                </a:cxn>
                <a:cxn ang="0">
                  <a:pos x="83" y="242"/>
                </a:cxn>
                <a:cxn ang="0">
                  <a:pos x="16" y="223"/>
                </a:cxn>
                <a:cxn ang="0">
                  <a:pos x="80" y="189"/>
                </a:cxn>
                <a:cxn ang="0">
                  <a:pos x="192" y="154"/>
                </a:cxn>
                <a:cxn ang="0">
                  <a:pos x="261" y="197"/>
                </a:cxn>
                <a:cxn ang="0">
                  <a:pos x="323" y="316"/>
                </a:cxn>
                <a:cxn ang="0">
                  <a:pos x="464" y="432"/>
                </a:cxn>
                <a:cxn ang="0">
                  <a:pos x="573" y="389"/>
                </a:cxn>
                <a:cxn ang="0">
                  <a:pos x="669" y="349"/>
                </a:cxn>
                <a:cxn ang="0">
                  <a:pos x="746" y="359"/>
                </a:cxn>
                <a:cxn ang="0">
                  <a:pos x="805" y="263"/>
                </a:cxn>
                <a:cxn ang="0">
                  <a:pos x="853" y="149"/>
                </a:cxn>
                <a:cxn ang="0">
                  <a:pos x="779" y="133"/>
                </a:cxn>
                <a:cxn ang="0">
                  <a:pos x="720" y="104"/>
                </a:cxn>
                <a:cxn ang="0">
                  <a:pos x="845" y="72"/>
                </a:cxn>
                <a:cxn ang="0">
                  <a:pos x="999" y="36"/>
                </a:cxn>
                <a:cxn ang="0">
                  <a:pos x="1053" y="60"/>
                </a:cxn>
                <a:cxn ang="0">
                  <a:pos x="1122" y="114"/>
                </a:cxn>
                <a:cxn ang="0">
                  <a:pos x="1189" y="314"/>
                </a:cxn>
                <a:cxn ang="0">
                  <a:pos x="1189" y="493"/>
                </a:cxn>
                <a:cxn ang="0">
                  <a:pos x="1250" y="498"/>
                </a:cxn>
                <a:cxn ang="0">
                  <a:pos x="1309" y="517"/>
                </a:cxn>
                <a:cxn ang="0">
                  <a:pos x="1269" y="589"/>
                </a:cxn>
                <a:cxn ang="0">
                  <a:pos x="1239" y="690"/>
                </a:cxn>
                <a:cxn ang="0">
                  <a:pos x="1149" y="816"/>
                </a:cxn>
                <a:cxn ang="0">
                  <a:pos x="1031" y="853"/>
                </a:cxn>
                <a:cxn ang="0">
                  <a:pos x="1045" y="933"/>
                </a:cxn>
                <a:cxn ang="0">
                  <a:pos x="1075" y="999"/>
                </a:cxn>
                <a:cxn ang="0">
                  <a:pos x="999" y="1072"/>
                </a:cxn>
                <a:cxn ang="0">
                  <a:pos x="955" y="1175"/>
                </a:cxn>
                <a:cxn ang="0">
                  <a:pos x="938" y="1264"/>
                </a:cxn>
                <a:cxn ang="0">
                  <a:pos x="712" y="1232"/>
                </a:cxn>
              </a:cxnLst>
              <a:rect l="0" t="0" r="r" b="b"/>
              <a:pathLst>
                <a:path w="1309" h="1330">
                  <a:moveTo>
                    <a:pt x="712" y="1232"/>
                  </a:moveTo>
                  <a:cubicBezTo>
                    <a:pt x="634" y="1160"/>
                    <a:pt x="615" y="1130"/>
                    <a:pt x="587" y="1045"/>
                  </a:cubicBezTo>
                  <a:cubicBezTo>
                    <a:pt x="570" y="989"/>
                    <a:pt x="531" y="890"/>
                    <a:pt x="501" y="824"/>
                  </a:cubicBezTo>
                  <a:cubicBezTo>
                    <a:pt x="471" y="759"/>
                    <a:pt x="440" y="676"/>
                    <a:pt x="435" y="639"/>
                  </a:cubicBezTo>
                  <a:cubicBezTo>
                    <a:pt x="424" y="570"/>
                    <a:pt x="331" y="388"/>
                    <a:pt x="282" y="338"/>
                  </a:cubicBezTo>
                  <a:cubicBezTo>
                    <a:pt x="266" y="320"/>
                    <a:pt x="231" y="309"/>
                    <a:pt x="199" y="309"/>
                  </a:cubicBezTo>
                  <a:cubicBezTo>
                    <a:pt x="154" y="309"/>
                    <a:pt x="143" y="303"/>
                    <a:pt x="138" y="272"/>
                  </a:cubicBezTo>
                  <a:cubicBezTo>
                    <a:pt x="135" y="244"/>
                    <a:pt x="125" y="237"/>
                    <a:pt x="83" y="242"/>
                  </a:cubicBezTo>
                  <a:cubicBezTo>
                    <a:pt x="55" y="244"/>
                    <a:pt x="26" y="236"/>
                    <a:pt x="16" y="223"/>
                  </a:cubicBezTo>
                  <a:cubicBezTo>
                    <a:pt x="0" y="205"/>
                    <a:pt x="11" y="199"/>
                    <a:pt x="80" y="189"/>
                  </a:cubicBezTo>
                  <a:cubicBezTo>
                    <a:pt x="127" y="183"/>
                    <a:pt x="178" y="167"/>
                    <a:pt x="192" y="154"/>
                  </a:cubicBezTo>
                  <a:cubicBezTo>
                    <a:pt x="216" y="132"/>
                    <a:pt x="223" y="136"/>
                    <a:pt x="261" y="197"/>
                  </a:cubicBezTo>
                  <a:cubicBezTo>
                    <a:pt x="285" y="234"/>
                    <a:pt x="312" y="287"/>
                    <a:pt x="323" y="316"/>
                  </a:cubicBezTo>
                  <a:cubicBezTo>
                    <a:pt x="360" y="415"/>
                    <a:pt x="373" y="426"/>
                    <a:pt x="464" y="432"/>
                  </a:cubicBezTo>
                  <a:cubicBezTo>
                    <a:pt x="551" y="440"/>
                    <a:pt x="552" y="439"/>
                    <a:pt x="573" y="389"/>
                  </a:cubicBezTo>
                  <a:cubicBezTo>
                    <a:pt x="594" y="340"/>
                    <a:pt x="595" y="338"/>
                    <a:pt x="669" y="349"/>
                  </a:cubicBezTo>
                  <a:lnTo>
                    <a:pt x="746" y="359"/>
                  </a:lnTo>
                  <a:lnTo>
                    <a:pt x="805" y="263"/>
                  </a:lnTo>
                  <a:cubicBezTo>
                    <a:pt x="837" y="208"/>
                    <a:pt x="859" y="157"/>
                    <a:pt x="853" y="149"/>
                  </a:cubicBezTo>
                  <a:cubicBezTo>
                    <a:pt x="848" y="140"/>
                    <a:pt x="815" y="133"/>
                    <a:pt x="779" y="133"/>
                  </a:cubicBezTo>
                  <a:cubicBezTo>
                    <a:pt x="727" y="133"/>
                    <a:pt x="715" y="128"/>
                    <a:pt x="720" y="104"/>
                  </a:cubicBezTo>
                  <a:cubicBezTo>
                    <a:pt x="725" y="82"/>
                    <a:pt x="746" y="76"/>
                    <a:pt x="845" y="72"/>
                  </a:cubicBezTo>
                  <a:cubicBezTo>
                    <a:pt x="938" y="68"/>
                    <a:pt x="973" y="60"/>
                    <a:pt x="999" y="36"/>
                  </a:cubicBezTo>
                  <a:cubicBezTo>
                    <a:pt x="1035" y="0"/>
                    <a:pt x="1053" y="8"/>
                    <a:pt x="1053" y="60"/>
                  </a:cubicBezTo>
                  <a:cubicBezTo>
                    <a:pt x="1053" y="111"/>
                    <a:pt x="1083" y="135"/>
                    <a:pt x="1122" y="114"/>
                  </a:cubicBezTo>
                  <a:cubicBezTo>
                    <a:pt x="1176" y="85"/>
                    <a:pt x="1189" y="122"/>
                    <a:pt x="1189" y="314"/>
                  </a:cubicBezTo>
                  <a:lnTo>
                    <a:pt x="1189" y="493"/>
                  </a:lnTo>
                  <a:lnTo>
                    <a:pt x="1250" y="498"/>
                  </a:lnTo>
                  <a:cubicBezTo>
                    <a:pt x="1282" y="501"/>
                    <a:pt x="1309" y="509"/>
                    <a:pt x="1309" y="517"/>
                  </a:cubicBezTo>
                  <a:cubicBezTo>
                    <a:pt x="1309" y="525"/>
                    <a:pt x="1291" y="557"/>
                    <a:pt x="1269" y="589"/>
                  </a:cubicBezTo>
                  <a:cubicBezTo>
                    <a:pt x="1243" y="629"/>
                    <a:pt x="1234" y="661"/>
                    <a:pt x="1239" y="690"/>
                  </a:cubicBezTo>
                  <a:cubicBezTo>
                    <a:pt x="1259" y="796"/>
                    <a:pt x="1261" y="796"/>
                    <a:pt x="1149" y="816"/>
                  </a:cubicBezTo>
                  <a:cubicBezTo>
                    <a:pt x="1093" y="829"/>
                    <a:pt x="1039" y="845"/>
                    <a:pt x="1031" y="853"/>
                  </a:cubicBezTo>
                  <a:cubicBezTo>
                    <a:pt x="1021" y="861"/>
                    <a:pt x="1027" y="893"/>
                    <a:pt x="1045" y="933"/>
                  </a:cubicBezTo>
                  <a:lnTo>
                    <a:pt x="1075" y="999"/>
                  </a:lnTo>
                  <a:lnTo>
                    <a:pt x="999" y="1072"/>
                  </a:lnTo>
                  <a:cubicBezTo>
                    <a:pt x="922" y="1148"/>
                    <a:pt x="922" y="1148"/>
                    <a:pt x="955" y="1175"/>
                  </a:cubicBezTo>
                  <a:cubicBezTo>
                    <a:pt x="1000" y="1212"/>
                    <a:pt x="999" y="1223"/>
                    <a:pt x="938" y="1264"/>
                  </a:cubicBezTo>
                  <a:cubicBezTo>
                    <a:pt x="839" y="1330"/>
                    <a:pt x="815" y="1325"/>
                    <a:pt x="712" y="1232"/>
                  </a:cubicBezTo>
                  <a:close/>
                </a:path>
              </a:pathLst>
            </a:custGeom>
            <a:solidFill>
              <a:srgbClr val="E1EFF6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02" name="Республика Карелия">
              <a:extLst>
                <a:ext uri="{FF2B5EF4-FFF2-40B4-BE49-F238E27FC236}">
                  <a16:creationId xmlns="" xmlns:a16="http://schemas.microsoft.com/office/drawing/2014/main" id="{00000000-0008-0000-0300-00006D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0549" y="3180470"/>
              <a:ext cx="1153800" cy="1244049"/>
            </a:xfrm>
            <a:custGeom>
              <a:avLst/>
              <a:gdLst/>
              <a:ahLst/>
              <a:cxnLst>
                <a:cxn ang="0">
                  <a:pos x="1010" y="2106"/>
                </a:cxn>
                <a:cxn ang="0">
                  <a:pos x="842" y="2040"/>
                </a:cxn>
                <a:cxn ang="0">
                  <a:pos x="725" y="2029"/>
                </a:cxn>
                <a:cxn ang="0">
                  <a:pos x="614" y="1879"/>
                </a:cxn>
                <a:cxn ang="0">
                  <a:pos x="485" y="1728"/>
                </a:cxn>
                <a:cxn ang="0">
                  <a:pos x="429" y="1768"/>
                </a:cxn>
                <a:cxn ang="0">
                  <a:pos x="278" y="1799"/>
                </a:cxn>
                <a:cxn ang="0">
                  <a:pos x="122" y="1514"/>
                </a:cxn>
                <a:cxn ang="0">
                  <a:pos x="0" y="1219"/>
                </a:cxn>
                <a:cxn ang="0">
                  <a:pos x="109" y="1200"/>
                </a:cxn>
                <a:cxn ang="0">
                  <a:pos x="682" y="1099"/>
                </a:cxn>
                <a:cxn ang="0">
                  <a:pos x="726" y="912"/>
                </a:cxn>
                <a:cxn ang="0">
                  <a:pos x="765" y="731"/>
                </a:cxn>
                <a:cxn ang="0">
                  <a:pos x="850" y="699"/>
                </a:cxn>
                <a:cxn ang="0">
                  <a:pos x="1008" y="522"/>
                </a:cxn>
                <a:cxn ang="0">
                  <a:pos x="1192" y="309"/>
                </a:cxn>
                <a:cxn ang="0">
                  <a:pos x="1427" y="91"/>
                </a:cxn>
                <a:cxn ang="0">
                  <a:pos x="1504" y="0"/>
                </a:cxn>
                <a:cxn ang="0">
                  <a:pos x="1602" y="58"/>
                </a:cxn>
                <a:cxn ang="0">
                  <a:pos x="1672" y="167"/>
                </a:cxn>
                <a:cxn ang="0">
                  <a:pos x="1738" y="320"/>
                </a:cxn>
                <a:cxn ang="0">
                  <a:pos x="1810" y="519"/>
                </a:cxn>
                <a:cxn ang="0">
                  <a:pos x="1829" y="663"/>
                </a:cxn>
                <a:cxn ang="0">
                  <a:pos x="1784" y="695"/>
                </a:cxn>
                <a:cxn ang="0">
                  <a:pos x="1528" y="954"/>
                </a:cxn>
                <a:cxn ang="0">
                  <a:pos x="1434" y="1075"/>
                </a:cxn>
                <a:cxn ang="0">
                  <a:pos x="1464" y="1221"/>
                </a:cxn>
                <a:cxn ang="0">
                  <a:pos x="1501" y="1395"/>
                </a:cxn>
                <a:cxn ang="0">
                  <a:pos x="1435" y="1424"/>
                </a:cxn>
                <a:cxn ang="0">
                  <a:pos x="1298" y="1509"/>
                </a:cxn>
                <a:cxn ang="0">
                  <a:pos x="1234" y="1698"/>
                </a:cxn>
                <a:cxn ang="0">
                  <a:pos x="1246" y="1840"/>
                </a:cxn>
                <a:cxn ang="0">
                  <a:pos x="1224" y="1922"/>
                </a:cxn>
                <a:cxn ang="0">
                  <a:pos x="1178" y="2039"/>
                </a:cxn>
                <a:cxn ang="0">
                  <a:pos x="1120" y="2136"/>
                </a:cxn>
                <a:cxn ang="0">
                  <a:pos x="1069" y="2160"/>
                </a:cxn>
                <a:cxn ang="0">
                  <a:pos x="1010" y="2106"/>
                </a:cxn>
              </a:cxnLst>
              <a:rect l="0" t="0" r="r" b="b"/>
              <a:pathLst>
                <a:path w="1829" h="2160">
                  <a:moveTo>
                    <a:pt x="1010" y="2106"/>
                  </a:moveTo>
                  <a:cubicBezTo>
                    <a:pt x="963" y="2056"/>
                    <a:pt x="946" y="2050"/>
                    <a:pt x="842" y="2040"/>
                  </a:cubicBezTo>
                  <a:lnTo>
                    <a:pt x="725" y="2029"/>
                  </a:lnTo>
                  <a:lnTo>
                    <a:pt x="614" y="1879"/>
                  </a:lnTo>
                  <a:cubicBezTo>
                    <a:pt x="554" y="1797"/>
                    <a:pt x="494" y="1728"/>
                    <a:pt x="485" y="1728"/>
                  </a:cubicBezTo>
                  <a:cubicBezTo>
                    <a:pt x="474" y="1728"/>
                    <a:pt x="448" y="1746"/>
                    <a:pt x="429" y="1768"/>
                  </a:cubicBezTo>
                  <a:cubicBezTo>
                    <a:pt x="395" y="1807"/>
                    <a:pt x="347" y="1816"/>
                    <a:pt x="278" y="1799"/>
                  </a:cubicBezTo>
                  <a:cubicBezTo>
                    <a:pt x="251" y="1791"/>
                    <a:pt x="214" y="1725"/>
                    <a:pt x="122" y="1514"/>
                  </a:cubicBezTo>
                  <a:cubicBezTo>
                    <a:pt x="54" y="1363"/>
                    <a:pt x="0" y="1231"/>
                    <a:pt x="0" y="1219"/>
                  </a:cubicBezTo>
                  <a:cubicBezTo>
                    <a:pt x="0" y="1205"/>
                    <a:pt x="32" y="1200"/>
                    <a:pt x="109" y="1200"/>
                  </a:cubicBezTo>
                  <a:cubicBezTo>
                    <a:pt x="240" y="1200"/>
                    <a:pt x="656" y="1127"/>
                    <a:pt x="682" y="1099"/>
                  </a:cubicBezTo>
                  <a:cubicBezTo>
                    <a:pt x="693" y="1088"/>
                    <a:pt x="712" y="1005"/>
                    <a:pt x="726" y="912"/>
                  </a:cubicBezTo>
                  <a:cubicBezTo>
                    <a:pt x="741" y="819"/>
                    <a:pt x="758" y="739"/>
                    <a:pt x="765" y="731"/>
                  </a:cubicBezTo>
                  <a:cubicBezTo>
                    <a:pt x="773" y="725"/>
                    <a:pt x="810" y="711"/>
                    <a:pt x="850" y="699"/>
                  </a:cubicBezTo>
                  <a:cubicBezTo>
                    <a:pt x="917" y="680"/>
                    <a:pt x="925" y="671"/>
                    <a:pt x="1008" y="522"/>
                  </a:cubicBezTo>
                  <a:cubicBezTo>
                    <a:pt x="1088" y="379"/>
                    <a:pt x="1104" y="360"/>
                    <a:pt x="1192" y="309"/>
                  </a:cubicBezTo>
                  <a:cubicBezTo>
                    <a:pt x="1315" y="237"/>
                    <a:pt x="1349" y="205"/>
                    <a:pt x="1427" y="91"/>
                  </a:cubicBezTo>
                  <a:cubicBezTo>
                    <a:pt x="1461" y="42"/>
                    <a:pt x="1496" y="0"/>
                    <a:pt x="1504" y="0"/>
                  </a:cubicBezTo>
                  <a:cubicBezTo>
                    <a:pt x="1514" y="0"/>
                    <a:pt x="1557" y="26"/>
                    <a:pt x="1602" y="58"/>
                  </a:cubicBezTo>
                  <a:cubicBezTo>
                    <a:pt x="1677" y="112"/>
                    <a:pt x="1682" y="120"/>
                    <a:pt x="1672" y="167"/>
                  </a:cubicBezTo>
                  <a:cubicBezTo>
                    <a:pt x="1648" y="267"/>
                    <a:pt x="1670" y="320"/>
                    <a:pt x="1738" y="320"/>
                  </a:cubicBezTo>
                  <a:cubicBezTo>
                    <a:pt x="1781" y="320"/>
                    <a:pt x="1782" y="328"/>
                    <a:pt x="1810" y="519"/>
                  </a:cubicBezTo>
                  <a:lnTo>
                    <a:pt x="1829" y="663"/>
                  </a:lnTo>
                  <a:lnTo>
                    <a:pt x="1784" y="695"/>
                  </a:lnTo>
                  <a:cubicBezTo>
                    <a:pt x="1690" y="762"/>
                    <a:pt x="1619" y="834"/>
                    <a:pt x="1528" y="954"/>
                  </a:cubicBezTo>
                  <a:lnTo>
                    <a:pt x="1434" y="1075"/>
                  </a:lnTo>
                  <a:lnTo>
                    <a:pt x="1464" y="1221"/>
                  </a:lnTo>
                  <a:cubicBezTo>
                    <a:pt x="1480" y="1301"/>
                    <a:pt x="1496" y="1379"/>
                    <a:pt x="1501" y="1395"/>
                  </a:cubicBezTo>
                  <a:cubicBezTo>
                    <a:pt x="1507" y="1419"/>
                    <a:pt x="1498" y="1424"/>
                    <a:pt x="1435" y="1424"/>
                  </a:cubicBezTo>
                  <a:cubicBezTo>
                    <a:pt x="1368" y="1424"/>
                    <a:pt x="1360" y="1429"/>
                    <a:pt x="1298" y="1509"/>
                  </a:cubicBezTo>
                  <a:cubicBezTo>
                    <a:pt x="1235" y="1589"/>
                    <a:pt x="1232" y="1600"/>
                    <a:pt x="1234" y="1698"/>
                  </a:cubicBezTo>
                  <a:cubicBezTo>
                    <a:pt x="1235" y="1754"/>
                    <a:pt x="1240" y="1818"/>
                    <a:pt x="1246" y="1840"/>
                  </a:cubicBezTo>
                  <a:cubicBezTo>
                    <a:pt x="1256" y="1869"/>
                    <a:pt x="1250" y="1891"/>
                    <a:pt x="1224" y="1922"/>
                  </a:cubicBezTo>
                  <a:cubicBezTo>
                    <a:pt x="1203" y="1946"/>
                    <a:pt x="1182" y="1999"/>
                    <a:pt x="1178" y="2039"/>
                  </a:cubicBezTo>
                  <a:cubicBezTo>
                    <a:pt x="1168" y="2098"/>
                    <a:pt x="1157" y="2117"/>
                    <a:pt x="1120" y="2136"/>
                  </a:cubicBezTo>
                  <a:cubicBezTo>
                    <a:pt x="1094" y="2149"/>
                    <a:pt x="1070" y="2160"/>
                    <a:pt x="1069" y="2160"/>
                  </a:cubicBezTo>
                  <a:cubicBezTo>
                    <a:pt x="1066" y="2160"/>
                    <a:pt x="1038" y="2135"/>
                    <a:pt x="1010" y="2106"/>
                  </a:cubicBezTo>
                  <a:close/>
                </a:path>
              </a:pathLst>
            </a:custGeom>
            <a:solidFill>
              <a:srgbClr val="5B93D7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03" name="Республика Коми">
              <a:extLst>
                <a:ext uri="{FF2B5EF4-FFF2-40B4-BE49-F238E27FC236}">
                  <a16:creationId xmlns="" xmlns:a16="http://schemas.microsoft.com/office/drawing/2014/main" id="{00000000-0008-0000-0300-00006E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5142" y="4323151"/>
              <a:ext cx="2407930" cy="1280909"/>
            </a:xfrm>
            <a:custGeom>
              <a:avLst/>
              <a:gdLst/>
              <a:ahLst/>
              <a:cxnLst>
                <a:cxn ang="0">
                  <a:pos x="1341" y="2124"/>
                </a:cxn>
                <a:cxn ang="0">
                  <a:pos x="958" y="2005"/>
                </a:cxn>
                <a:cxn ang="0">
                  <a:pos x="798" y="1914"/>
                </a:cxn>
                <a:cxn ang="0">
                  <a:pos x="381" y="2069"/>
                </a:cxn>
                <a:cxn ang="0">
                  <a:pos x="72" y="2141"/>
                </a:cxn>
                <a:cxn ang="0">
                  <a:pos x="54" y="1837"/>
                </a:cxn>
                <a:cxn ang="0">
                  <a:pos x="166" y="1530"/>
                </a:cxn>
                <a:cxn ang="0">
                  <a:pos x="453" y="1514"/>
                </a:cxn>
                <a:cxn ang="0">
                  <a:pos x="616" y="1245"/>
                </a:cxn>
                <a:cxn ang="0">
                  <a:pos x="709" y="1028"/>
                </a:cxn>
                <a:cxn ang="0">
                  <a:pos x="461" y="1039"/>
                </a:cxn>
                <a:cxn ang="0">
                  <a:pos x="366" y="949"/>
                </a:cxn>
                <a:cxn ang="0">
                  <a:pos x="536" y="834"/>
                </a:cxn>
                <a:cxn ang="0">
                  <a:pos x="544" y="597"/>
                </a:cxn>
                <a:cxn ang="0">
                  <a:pos x="483" y="330"/>
                </a:cxn>
                <a:cxn ang="0">
                  <a:pos x="834" y="519"/>
                </a:cxn>
                <a:cxn ang="0">
                  <a:pos x="1091" y="589"/>
                </a:cxn>
                <a:cxn ang="0">
                  <a:pos x="1238" y="564"/>
                </a:cxn>
                <a:cxn ang="0">
                  <a:pos x="1238" y="394"/>
                </a:cxn>
                <a:cxn ang="0">
                  <a:pos x="1243" y="199"/>
                </a:cxn>
                <a:cxn ang="0">
                  <a:pos x="1358" y="0"/>
                </a:cxn>
                <a:cxn ang="0">
                  <a:pos x="1947" y="5"/>
                </a:cxn>
                <a:cxn ang="0">
                  <a:pos x="2656" y="420"/>
                </a:cxn>
                <a:cxn ang="0">
                  <a:pos x="3264" y="605"/>
                </a:cxn>
                <a:cxn ang="0">
                  <a:pos x="3568" y="456"/>
                </a:cxn>
                <a:cxn ang="0">
                  <a:pos x="3768" y="405"/>
                </a:cxn>
                <a:cxn ang="0">
                  <a:pos x="3826" y="565"/>
                </a:cxn>
                <a:cxn ang="0">
                  <a:pos x="3664" y="760"/>
                </a:cxn>
                <a:cxn ang="0">
                  <a:pos x="3142" y="991"/>
                </a:cxn>
                <a:cxn ang="0">
                  <a:pos x="2800" y="1152"/>
                </a:cxn>
                <a:cxn ang="0">
                  <a:pos x="2530" y="1266"/>
                </a:cxn>
                <a:cxn ang="0">
                  <a:pos x="2413" y="1508"/>
                </a:cxn>
                <a:cxn ang="0">
                  <a:pos x="2138" y="1848"/>
                </a:cxn>
                <a:cxn ang="0">
                  <a:pos x="1768" y="2160"/>
                </a:cxn>
              </a:cxnLst>
              <a:rect l="0" t="0" r="r" b="b"/>
              <a:pathLst>
                <a:path w="3834" h="2216">
                  <a:moveTo>
                    <a:pt x="1768" y="2160"/>
                  </a:moveTo>
                  <a:cubicBezTo>
                    <a:pt x="1605" y="2095"/>
                    <a:pt x="1530" y="2088"/>
                    <a:pt x="1341" y="2124"/>
                  </a:cubicBezTo>
                  <a:cubicBezTo>
                    <a:pt x="1226" y="2144"/>
                    <a:pt x="1210" y="2144"/>
                    <a:pt x="1109" y="2116"/>
                  </a:cubicBezTo>
                  <a:cubicBezTo>
                    <a:pt x="1005" y="2087"/>
                    <a:pt x="998" y="2082"/>
                    <a:pt x="958" y="2005"/>
                  </a:cubicBezTo>
                  <a:lnTo>
                    <a:pt x="918" y="1925"/>
                  </a:lnTo>
                  <a:lnTo>
                    <a:pt x="798" y="1914"/>
                  </a:lnTo>
                  <a:cubicBezTo>
                    <a:pt x="632" y="1900"/>
                    <a:pt x="624" y="1903"/>
                    <a:pt x="624" y="1999"/>
                  </a:cubicBezTo>
                  <a:cubicBezTo>
                    <a:pt x="624" y="2112"/>
                    <a:pt x="590" y="2122"/>
                    <a:pt x="381" y="2069"/>
                  </a:cubicBezTo>
                  <a:cubicBezTo>
                    <a:pt x="210" y="2028"/>
                    <a:pt x="195" y="2029"/>
                    <a:pt x="130" y="2100"/>
                  </a:cubicBezTo>
                  <a:cubicBezTo>
                    <a:pt x="107" y="2122"/>
                    <a:pt x="82" y="2141"/>
                    <a:pt x="72" y="2141"/>
                  </a:cubicBezTo>
                  <a:cubicBezTo>
                    <a:pt x="53" y="2141"/>
                    <a:pt x="0" y="1983"/>
                    <a:pt x="0" y="1925"/>
                  </a:cubicBezTo>
                  <a:cubicBezTo>
                    <a:pt x="0" y="1909"/>
                    <a:pt x="24" y="1869"/>
                    <a:pt x="54" y="1837"/>
                  </a:cubicBezTo>
                  <a:cubicBezTo>
                    <a:pt x="96" y="1791"/>
                    <a:pt x="115" y="1746"/>
                    <a:pt x="138" y="1653"/>
                  </a:cubicBezTo>
                  <a:lnTo>
                    <a:pt x="166" y="1530"/>
                  </a:lnTo>
                  <a:lnTo>
                    <a:pt x="224" y="1540"/>
                  </a:lnTo>
                  <a:cubicBezTo>
                    <a:pt x="400" y="1573"/>
                    <a:pt x="410" y="1572"/>
                    <a:pt x="453" y="1514"/>
                  </a:cubicBezTo>
                  <a:cubicBezTo>
                    <a:pt x="480" y="1479"/>
                    <a:pt x="491" y="1447"/>
                    <a:pt x="486" y="1421"/>
                  </a:cubicBezTo>
                  <a:cubicBezTo>
                    <a:pt x="480" y="1388"/>
                    <a:pt x="501" y="1357"/>
                    <a:pt x="616" y="1245"/>
                  </a:cubicBezTo>
                  <a:cubicBezTo>
                    <a:pt x="691" y="1170"/>
                    <a:pt x="752" y="1103"/>
                    <a:pt x="752" y="1096"/>
                  </a:cubicBezTo>
                  <a:cubicBezTo>
                    <a:pt x="752" y="1088"/>
                    <a:pt x="733" y="1058"/>
                    <a:pt x="709" y="1028"/>
                  </a:cubicBezTo>
                  <a:cubicBezTo>
                    <a:pt x="669" y="980"/>
                    <a:pt x="656" y="973"/>
                    <a:pt x="589" y="973"/>
                  </a:cubicBezTo>
                  <a:cubicBezTo>
                    <a:pt x="522" y="973"/>
                    <a:pt x="510" y="978"/>
                    <a:pt x="461" y="1039"/>
                  </a:cubicBezTo>
                  <a:cubicBezTo>
                    <a:pt x="411" y="1098"/>
                    <a:pt x="402" y="1103"/>
                    <a:pt x="371" y="1087"/>
                  </a:cubicBezTo>
                  <a:cubicBezTo>
                    <a:pt x="330" y="1064"/>
                    <a:pt x="330" y="1055"/>
                    <a:pt x="366" y="949"/>
                  </a:cubicBezTo>
                  <a:cubicBezTo>
                    <a:pt x="392" y="874"/>
                    <a:pt x="400" y="868"/>
                    <a:pt x="466" y="852"/>
                  </a:cubicBezTo>
                  <a:lnTo>
                    <a:pt x="536" y="834"/>
                  </a:lnTo>
                  <a:lnTo>
                    <a:pt x="531" y="738"/>
                  </a:lnTo>
                  <a:cubicBezTo>
                    <a:pt x="528" y="687"/>
                    <a:pt x="534" y="623"/>
                    <a:pt x="544" y="597"/>
                  </a:cubicBezTo>
                  <a:cubicBezTo>
                    <a:pt x="558" y="559"/>
                    <a:pt x="554" y="536"/>
                    <a:pt x="512" y="448"/>
                  </a:cubicBezTo>
                  <a:cubicBezTo>
                    <a:pt x="474" y="367"/>
                    <a:pt x="467" y="340"/>
                    <a:pt x="483" y="330"/>
                  </a:cubicBezTo>
                  <a:cubicBezTo>
                    <a:pt x="520" y="308"/>
                    <a:pt x="557" y="316"/>
                    <a:pt x="643" y="367"/>
                  </a:cubicBezTo>
                  <a:cubicBezTo>
                    <a:pt x="776" y="445"/>
                    <a:pt x="818" y="477"/>
                    <a:pt x="834" y="519"/>
                  </a:cubicBezTo>
                  <a:cubicBezTo>
                    <a:pt x="845" y="551"/>
                    <a:pt x="858" y="557"/>
                    <a:pt x="918" y="557"/>
                  </a:cubicBezTo>
                  <a:cubicBezTo>
                    <a:pt x="957" y="557"/>
                    <a:pt x="1035" y="572"/>
                    <a:pt x="1091" y="589"/>
                  </a:cubicBezTo>
                  <a:cubicBezTo>
                    <a:pt x="1147" y="605"/>
                    <a:pt x="1194" y="620"/>
                    <a:pt x="1195" y="621"/>
                  </a:cubicBezTo>
                  <a:cubicBezTo>
                    <a:pt x="1197" y="621"/>
                    <a:pt x="1216" y="596"/>
                    <a:pt x="1238" y="564"/>
                  </a:cubicBezTo>
                  <a:lnTo>
                    <a:pt x="1277" y="506"/>
                  </a:lnTo>
                  <a:lnTo>
                    <a:pt x="1238" y="394"/>
                  </a:lnTo>
                  <a:lnTo>
                    <a:pt x="1202" y="282"/>
                  </a:lnTo>
                  <a:lnTo>
                    <a:pt x="1243" y="199"/>
                  </a:lnTo>
                  <a:cubicBezTo>
                    <a:pt x="1266" y="154"/>
                    <a:pt x="1301" y="92"/>
                    <a:pt x="1322" y="60"/>
                  </a:cubicBezTo>
                  <a:lnTo>
                    <a:pt x="1358" y="0"/>
                  </a:lnTo>
                  <a:lnTo>
                    <a:pt x="1653" y="4"/>
                  </a:lnTo>
                  <a:lnTo>
                    <a:pt x="1947" y="5"/>
                  </a:lnTo>
                  <a:lnTo>
                    <a:pt x="2194" y="167"/>
                  </a:lnTo>
                  <a:cubicBezTo>
                    <a:pt x="2368" y="280"/>
                    <a:pt x="2504" y="356"/>
                    <a:pt x="2656" y="420"/>
                  </a:cubicBezTo>
                  <a:cubicBezTo>
                    <a:pt x="2774" y="471"/>
                    <a:pt x="2901" y="525"/>
                    <a:pt x="2936" y="540"/>
                  </a:cubicBezTo>
                  <a:cubicBezTo>
                    <a:pt x="3168" y="644"/>
                    <a:pt x="3141" y="639"/>
                    <a:pt x="3264" y="605"/>
                  </a:cubicBezTo>
                  <a:cubicBezTo>
                    <a:pt x="3339" y="586"/>
                    <a:pt x="3395" y="559"/>
                    <a:pt x="3440" y="520"/>
                  </a:cubicBezTo>
                  <a:cubicBezTo>
                    <a:pt x="3482" y="485"/>
                    <a:pt x="3528" y="461"/>
                    <a:pt x="3568" y="456"/>
                  </a:cubicBezTo>
                  <a:cubicBezTo>
                    <a:pt x="3613" y="450"/>
                    <a:pt x="3643" y="432"/>
                    <a:pt x="3682" y="391"/>
                  </a:cubicBezTo>
                  <a:cubicBezTo>
                    <a:pt x="3755" y="306"/>
                    <a:pt x="3834" y="319"/>
                    <a:pt x="3768" y="405"/>
                  </a:cubicBezTo>
                  <a:cubicBezTo>
                    <a:pt x="3734" y="452"/>
                    <a:pt x="3739" y="490"/>
                    <a:pt x="3786" y="530"/>
                  </a:cubicBezTo>
                  <a:lnTo>
                    <a:pt x="3826" y="565"/>
                  </a:lnTo>
                  <a:lnTo>
                    <a:pt x="3781" y="629"/>
                  </a:lnTo>
                  <a:cubicBezTo>
                    <a:pt x="3757" y="666"/>
                    <a:pt x="3704" y="725"/>
                    <a:pt x="3664" y="760"/>
                  </a:cubicBezTo>
                  <a:cubicBezTo>
                    <a:pt x="3597" y="821"/>
                    <a:pt x="3578" y="829"/>
                    <a:pt x="3440" y="853"/>
                  </a:cubicBezTo>
                  <a:cubicBezTo>
                    <a:pt x="3290" y="879"/>
                    <a:pt x="3211" y="914"/>
                    <a:pt x="3142" y="991"/>
                  </a:cubicBezTo>
                  <a:cubicBezTo>
                    <a:pt x="3128" y="1007"/>
                    <a:pt x="3066" y="1036"/>
                    <a:pt x="3006" y="1053"/>
                  </a:cubicBezTo>
                  <a:cubicBezTo>
                    <a:pt x="2946" y="1071"/>
                    <a:pt x="2853" y="1116"/>
                    <a:pt x="2800" y="1152"/>
                  </a:cubicBezTo>
                  <a:cubicBezTo>
                    <a:pt x="2712" y="1213"/>
                    <a:pt x="2701" y="1218"/>
                    <a:pt x="2686" y="1192"/>
                  </a:cubicBezTo>
                  <a:cubicBezTo>
                    <a:pt x="2661" y="1148"/>
                    <a:pt x="2637" y="1159"/>
                    <a:pt x="2530" y="1266"/>
                  </a:cubicBezTo>
                  <a:cubicBezTo>
                    <a:pt x="2443" y="1354"/>
                    <a:pt x="2429" y="1378"/>
                    <a:pt x="2422" y="1437"/>
                  </a:cubicBezTo>
                  <a:cubicBezTo>
                    <a:pt x="2419" y="1476"/>
                    <a:pt x="2414" y="1508"/>
                    <a:pt x="2413" y="1508"/>
                  </a:cubicBezTo>
                  <a:cubicBezTo>
                    <a:pt x="2410" y="1509"/>
                    <a:pt x="2365" y="1544"/>
                    <a:pt x="2310" y="1586"/>
                  </a:cubicBezTo>
                  <a:cubicBezTo>
                    <a:pt x="2216" y="1658"/>
                    <a:pt x="2210" y="1668"/>
                    <a:pt x="2138" y="1848"/>
                  </a:cubicBezTo>
                  <a:cubicBezTo>
                    <a:pt x="2022" y="2132"/>
                    <a:pt x="1981" y="2212"/>
                    <a:pt x="1944" y="2215"/>
                  </a:cubicBezTo>
                  <a:cubicBezTo>
                    <a:pt x="1926" y="2216"/>
                    <a:pt x="1848" y="2192"/>
                    <a:pt x="1768" y="2160"/>
                  </a:cubicBezTo>
                  <a:close/>
                </a:path>
              </a:pathLst>
            </a:custGeom>
            <a:solidFill>
              <a:srgbClr val="5B93D7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04" name="Республика Марий Эл">
              <a:extLst>
                <a:ext uri="{FF2B5EF4-FFF2-40B4-BE49-F238E27FC236}">
                  <a16:creationId xmlns="" xmlns:a16="http://schemas.microsoft.com/office/drawing/2014/main" id="{00000000-0008-0000-0300-00006F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2664" y="5788365"/>
              <a:ext cx="491619" cy="313316"/>
            </a:xfrm>
            <a:custGeom>
              <a:avLst/>
              <a:gdLst/>
              <a:ahLst/>
              <a:cxnLst>
                <a:cxn ang="0">
                  <a:pos x="317" y="530"/>
                </a:cxn>
                <a:cxn ang="0">
                  <a:pos x="274" y="392"/>
                </a:cxn>
                <a:cxn ang="0">
                  <a:pos x="212" y="263"/>
                </a:cxn>
                <a:cxn ang="0">
                  <a:pos x="93" y="237"/>
                </a:cxn>
                <a:cxn ang="0">
                  <a:pos x="0" y="218"/>
                </a:cxn>
                <a:cxn ang="0">
                  <a:pos x="5" y="128"/>
                </a:cxn>
                <a:cxn ang="0">
                  <a:pos x="10" y="40"/>
                </a:cxn>
                <a:cxn ang="0">
                  <a:pos x="82" y="20"/>
                </a:cxn>
                <a:cxn ang="0">
                  <a:pos x="189" y="21"/>
                </a:cxn>
                <a:cxn ang="0">
                  <a:pos x="247" y="45"/>
                </a:cxn>
                <a:cxn ang="0">
                  <a:pos x="280" y="141"/>
                </a:cxn>
                <a:cxn ang="0">
                  <a:pos x="402" y="191"/>
                </a:cxn>
                <a:cxn ang="0">
                  <a:pos x="466" y="144"/>
                </a:cxn>
                <a:cxn ang="0">
                  <a:pos x="597" y="175"/>
                </a:cxn>
                <a:cxn ang="0">
                  <a:pos x="733" y="212"/>
                </a:cxn>
                <a:cxn ang="0">
                  <a:pos x="762" y="349"/>
                </a:cxn>
                <a:cxn ang="0">
                  <a:pos x="762" y="508"/>
                </a:cxn>
                <a:cxn ang="0">
                  <a:pos x="693" y="496"/>
                </a:cxn>
                <a:cxn ang="0">
                  <a:pos x="624" y="458"/>
                </a:cxn>
                <a:cxn ang="0">
                  <a:pos x="348" y="535"/>
                </a:cxn>
                <a:cxn ang="0">
                  <a:pos x="317" y="530"/>
                </a:cxn>
              </a:cxnLst>
              <a:rect l="0" t="0" r="r" b="b"/>
              <a:pathLst>
                <a:path w="783" h="540">
                  <a:moveTo>
                    <a:pt x="317" y="530"/>
                  </a:moveTo>
                  <a:cubicBezTo>
                    <a:pt x="314" y="522"/>
                    <a:pt x="293" y="461"/>
                    <a:pt x="274" y="392"/>
                  </a:cubicBezTo>
                  <a:cubicBezTo>
                    <a:pt x="252" y="316"/>
                    <a:pt x="228" y="266"/>
                    <a:pt x="212" y="263"/>
                  </a:cubicBezTo>
                  <a:cubicBezTo>
                    <a:pt x="197" y="258"/>
                    <a:pt x="144" y="247"/>
                    <a:pt x="93" y="237"/>
                  </a:cubicBezTo>
                  <a:lnTo>
                    <a:pt x="0" y="218"/>
                  </a:lnTo>
                  <a:lnTo>
                    <a:pt x="5" y="128"/>
                  </a:lnTo>
                  <a:lnTo>
                    <a:pt x="10" y="40"/>
                  </a:lnTo>
                  <a:lnTo>
                    <a:pt x="82" y="20"/>
                  </a:lnTo>
                  <a:cubicBezTo>
                    <a:pt x="143" y="0"/>
                    <a:pt x="159" y="2"/>
                    <a:pt x="189" y="21"/>
                  </a:cubicBezTo>
                  <a:cubicBezTo>
                    <a:pt x="208" y="34"/>
                    <a:pt x="236" y="45"/>
                    <a:pt x="247" y="45"/>
                  </a:cubicBezTo>
                  <a:cubicBezTo>
                    <a:pt x="263" y="45"/>
                    <a:pt x="274" y="74"/>
                    <a:pt x="280" y="141"/>
                  </a:cubicBezTo>
                  <a:cubicBezTo>
                    <a:pt x="293" y="253"/>
                    <a:pt x="308" y="258"/>
                    <a:pt x="402" y="191"/>
                  </a:cubicBezTo>
                  <a:lnTo>
                    <a:pt x="466" y="144"/>
                  </a:lnTo>
                  <a:lnTo>
                    <a:pt x="597" y="175"/>
                  </a:lnTo>
                  <a:cubicBezTo>
                    <a:pt x="669" y="192"/>
                    <a:pt x="732" y="208"/>
                    <a:pt x="733" y="212"/>
                  </a:cubicBezTo>
                  <a:cubicBezTo>
                    <a:pt x="736" y="213"/>
                    <a:pt x="749" y="276"/>
                    <a:pt x="762" y="349"/>
                  </a:cubicBezTo>
                  <a:cubicBezTo>
                    <a:pt x="783" y="468"/>
                    <a:pt x="783" y="487"/>
                    <a:pt x="762" y="508"/>
                  </a:cubicBezTo>
                  <a:cubicBezTo>
                    <a:pt x="741" y="528"/>
                    <a:pt x="733" y="527"/>
                    <a:pt x="693" y="496"/>
                  </a:cubicBezTo>
                  <a:cubicBezTo>
                    <a:pt x="668" y="479"/>
                    <a:pt x="637" y="461"/>
                    <a:pt x="624" y="458"/>
                  </a:cubicBezTo>
                  <a:cubicBezTo>
                    <a:pt x="605" y="455"/>
                    <a:pt x="429" y="503"/>
                    <a:pt x="348" y="535"/>
                  </a:cubicBezTo>
                  <a:cubicBezTo>
                    <a:pt x="336" y="540"/>
                    <a:pt x="322" y="536"/>
                    <a:pt x="317" y="530"/>
                  </a:cubicBezTo>
                  <a:close/>
                </a:path>
              </a:pathLst>
            </a:custGeom>
            <a:solidFill>
              <a:srgbClr val="E1EFF6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05" name="Республика Мордовия">
              <a:extLst>
                <a:ext uri="{FF2B5EF4-FFF2-40B4-BE49-F238E27FC236}">
                  <a16:creationId xmlns="" xmlns:a16="http://schemas.microsoft.com/office/drawing/2014/main" id="{00000000-0008-0000-0300-000070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0384" y="5852871"/>
              <a:ext cx="551817" cy="387037"/>
            </a:xfrm>
            <a:custGeom>
              <a:avLst/>
              <a:gdLst/>
              <a:ahLst/>
              <a:cxnLst>
                <a:cxn ang="0">
                  <a:pos x="499" y="609"/>
                </a:cxn>
                <a:cxn ang="0">
                  <a:pos x="349" y="563"/>
                </a:cxn>
                <a:cxn ang="0">
                  <a:pos x="264" y="509"/>
                </a:cxn>
                <a:cxn ang="0">
                  <a:pos x="112" y="363"/>
                </a:cxn>
                <a:cxn ang="0">
                  <a:pos x="0" y="289"/>
                </a:cxn>
                <a:cxn ang="0">
                  <a:pos x="61" y="224"/>
                </a:cxn>
                <a:cxn ang="0">
                  <a:pos x="176" y="96"/>
                </a:cxn>
                <a:cxn ang="0">
                  <a:pos x="370" y="30"/>
                </a:cxn>
                <a:cxn ang="0">
                  <a:pos x="448" y="56"/>
                </a:cxn>
                <a:cxn ang="0">
                  <a:pos x="448" y="168"/>
                </a:cxn>
                <a:cxn ang="0">
                  <a:pos x="498" y="366"/>
                </a:cxn>
                <a:cxn ang="0">
                  <a:pos x="560" y="461"/>
                </a:cxn>
                <a:cxn ang="0">
                  <a:pos x="686" y="413"/>
                </a:cxn>
                <a:cxn ang="0">
                  <a:pos x="808" y="358"/>
                </a:cxn>
                <a:cxn ang="0">
                  <a:pos x="846" y="422"/>
                </a:cxn>
                <a:cxn ang="0">
                  <a:pos x="880" y="486"/>
                </a:cxn>
                <a:cxn ang="0">
                  <a:pos x="784" y="678"/>
                </a:cxn>
                <a:cxn ang="0">
                  <a:pos x="707" y="677"/>
                </a:cxn>
                <a:cxn ang="0">
                  <a:pos x="499" y="609"/>
                </a:cxn>
              </a:cxnLst>
              <a:rect l="0" t="0" r="r" b="b"/>
              <a:pathLst>
                <a:path w="880" h="678">
                  <a:moveTo>
                    <a:pt x="499" y="609"/>
                  </a:moveTo>
                  <a:cubicBezTo>
                    <a:pt x="400" y="561"/>
                    <a:pt x="362" y="550"/>
                    <a:pt x="349" y="563"/>
                  </a:cubicBezTo>
                  <a:cubicBezTo>
                    <a:pt x="318" y="592"/>
                    <a:pt x="310" y="587"/>
                    <a:pt x="264" y="509"/>
                  </a:cubicBezTo>
                  <a:cubicBezTo>
                    <a:pt x="235" y="459"/>
                    <a:pt x="187" y="413"/>
                    <a:pt x="112" y="363"/>
                  </a:cubicBezTo>
                  <a:lnTo>
                    <a:pt x="0" y="289"/>
                  </a:lnTo>
                  <a:lnTo>
                    <a:pt x="61" y="224"/>
                  </a:lnTo>
                  <a:cubicBezTo>
                    <a:pt x="94" y="187"/>
                    <a:pt x="146" y="129"/>
                    <a:pt x="176" y="96"/>
                  </a:cubicBezTo>
                  <a:cubicBezTo>
                    <a:pt x="258" y="6"/>
                    <a:pt x="277" y="0"/>
                    <a:pt x="370" y="30"/>
                  </a:cubicBezTo>
                  <a:lnTo>
                    <a:pt x="448" y="56"/>
                  </a:lnTo>
                  <a:lnTo>
                    <a:pt x="448" y="168"/>
                  </a:lnTo>
                  <a:cubicBezTo>
                    <a:pt x="448" y="262"/>
                    <a:pt x="456" y="291"/>
                    <a:pt x="498" y="366"/>
                  </a:cubicBezTo>
                  <a:cubicBezTo>
                    <a:pt x="525" y="414"/>
                    <a:pt x="552" y="457"/>
                    <a:pt x="560" y="461"/>
                  </a:cubicBezTo>
                  <a:cubicBezTo>
                    <a:pt x="566" y="465"/>
                    <a:pt x="624" y="443"/>
                    <a:pt x="686" y="413"/>
                  </a:cubicBezTo>
                  <a:cubicBezTo>
                    <a:pt x="750" y="382"/>
                    <a:pt x="805" y="358"/>
                    <a:pt x="808" y="358"/>
                  </a:cubicBezTo>
                  <a:cubicBezTo>
                    <a:pt x="811" y="358"/>
                    <a:pt x="829" y="387"/>
                    <a:pt x="846" y="422"/>
                  </a:cubicBezTo>
                  <a:lnTo>
                    <a:pt x="880" y="486"/>
                  </a:lnTo>
                  <a:lnTo>
                    <a:pt x="784" y="678"/>
                  </a:lnTo>
                  <a:lnTo>
                    <a:pt x="707" y="677"/>
                  </a:lnTo>
                  <a:cubicBezTo>
                    <a:pt x="653" y="675"/>
                    <a:pt x="595" y="657"/>
                    <a:pt x="499" y="609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06" name="Республика Саха (Якутия)">
              <a:extLst>
                <a:ext uri="{FF2B5EF4-FFF2-40B4-BE49-F238E27FC236}">
                  <a16:creationId xmlns="" xmlns:a16="http://schemas.microsoft.com/office/drawing/2014/main" id="{00000000-0008-0000-0300-000071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54505" y="2019358"/>
              <a:ext cx="4153680" cy="4570727"/>
            </a:xfrm>
            <a:custGeom>
              <a:avLst/>
              <a:gdLst/>
              <a:ahLst/>
              <a:cxnLst>
                <a:cxn ang="0">
                  <a:pos x="3029" y="7176"/>
                </a:cxn>
                <a:cxn ang="0">
                  <a:pos x="2683" y="7111"/>
                </a:cxn>
                <a:cxn ang="0">
                  <a:pos x="2322" y="7042"/>
                </a:cxn>
                <a:cxn ang="0">
                  <a:pos x="2064" y="7651"/>
                </a:cxn>
                <a:cxn ang="0">
                  <a:pos x="1586" y="7811"/>
                </a:cxn>
                <a:cxn ang="0">
                  <a:pos x="1453" y="7397"/>
                </a:cxn>
                <a:cxn ang="0">
                  <a:pos x="1298" y="6989"/>
                </a:cxn>
                <a:cxn ang="0">
                  <a:pos x="1197" y="6683"/>
                </a:cxn>
                <a:cxn ang="0">
                  <a:pos x="898" y="6317"/>
                </a:cxn>
                <a:cxn ang="0">
                  <a:pos x="579" y="6083"/>
                </a:cxn>
                <a:cxn ang="0">
                  <a:pos x="387" y="5855"/>
                </a:cxn>
                <a:cxn ang="0">
                  <a:pos x="259" y="5410"/>
                </a:cxn>
                <a:cxn ang="0">
                  <a:pos x="280" y="5066"/>
                </a:cxn>
                <a:cxn ang="0">
                  <a:pos x="82" y="4383"/>
                </a:cxn>
                <a:cxn ang="0">
                  <a:pos x="245" y="4123"/>
                </a:cxn>
                <a:cxn ang="0">
                  <a:pos x="509" y="3603"/>
                </a:cxn>
                <a:cxn ang="0">
                  <a:pos x="187" y="2779"/>
                </a:cxn>
                <a:cxn ang="0">
                  <a:pos x="339" y="2568"/>
                </a:cxn>
                <a:cxn ang="0">
                  <a:pos x="867" y="2415"/>
                </a:cxn>
                <a:cxn ang="0">
                  <a:pos x="1455" y="2354"/>
                </a:cxn>
                <a:cxn ang="0">
                  <a:pos x="1594" y="2005"/>
                </a:cxn>
                <a:cxn ang="0">
                  <a:pos x="2021" y="2059"/>
                </a:cxn>
                <a:cxn ang="0">
                  <a:pos x="2207" y="2368"/>
                </a:cxn>
                <a:cxn ang="0">
                  <a:pos x="2691" y="2163"/>
                </a:cxn>
                <a:cxn ang="0">
                  <a:pos x="3019" y="2051"/>
                </a:cxn>
                <a:cxn ang="0">
                  <a:pos x="3339" y="1859"/>
                </a:cxn>
                <a:cxn ang="0">
                  <a:pos x="3363" y="1573"/>
                </a:cxn>
                <a:cxn ang="0">
                  <a:pos x="3931" y="815"/>
                </a:cxn>
                <a:cxn ang="0">
                  <a:pos x="4167" y="891"/>
                </a:cxn>
                <a:cxn ang="0">
                  <a:pos x="5027" y="221"/>
                </a:cxn>
                <a:cxn ang="0">
                  <a:pos x="5503" y="165"/>
                </a:cxn>
                <a:cxn ang="0">
                  <a:pos x="5821" y="63"/>
                </a:cxn>
                <a:cxn ang="0">
                  <a:pos x="6195" y="277"/>
                </a:cxn>
                <a:cxn ang="0">
                  <a:pos x="6035" y="701"/>
                </a:cxn>
                <a:cxn ang="0">
                  <a:pos x="6344" y="976"/>
                </a:cxn>
                <a:cxn ang="0">
                  <a:pos x="6624" y="1162"/>
                </a:cxn>
                <a:cxn ang="0">
                  <a:pos x="6467" y="1383"/>
                </a:cxn>
                <a:cxn ang="0">
                  <a:pos x="6269" y="1669"/>
                </a:cxn>
                <a:cxn ang="0">
                  <a:pos x="6395" y="1992"/>
                </a:cxn>
                <a:cxn ang="0">
                  <a:pos x="6498" y="2367"/>
                </a:cxn>
                <a:cxn ang="0">
                  <a:pos x="6227" y="2632"/>
                </a:cxn>
                <a:cxn ang="0">
                  <a:pos x="6223" y="2893"/>
                </a:cxn>
                <a:cxn ang="0">
                  <a:pos x="6023" y="3112"/>
                </a:cxn>
                <a:cxn ang="0">
                  <a:pos x="6341" y="3754"/>
                </a:cxn>
                <a:cxn ang="0">
                  <a:pos x="5893" y="4122"/>
                </a:cxn>
                <a:cxn ang="0">
                  <a:pos x="5789" y="4397"/>
                </a:cxn>
                <a:cxn ang="0">
                  <a:pos x="5760" y="4661"/>
                </a:cxn>
                <a:cxn ang="0">
                  <a:pos x="5994" y="5256"/>
                </a:cxn>
                <a:cxn ang="0">
                  <a:pos x="5840" y="5536"/>
                </a:cxn>
                <a:cxn ang="0">
                  <a:pos x="5592" y="5843"/>
                </a:cxn>
                <a:cxn ang="0">
                  <a:pos x="5413" y="6407"/>
                </a:cxn>
                <a:cxn ang="0">
                  <a:pos x="5490" y="6725"/>
                </a:cxn>
                <a:cxn ang="0">
                  <a:pos x="5696" y="6947"/>
                </a:cxn>
                <a:cxn ang="0">
                  <a:pos x="5515" y="7445"/>
                </a:cxn>
                <a:cxn ang="0">
                  <a:pos x="4925" y="7760"/>
                </a:cxn>
                <a:cxn ang="0">
                  <a:pos x="4450" y="7730"/>
                </a:cxn>
                <a:cxn ang="0">
                  <a:pos x="3731" y="7853"/>
                </a:cxn>
              </a:cxnLst>
              <a:rect l="0" t="0" r="r" b="b"/>
              <a:pathLst>
                <a:path w="6624" h="7927">
                  <a:moveTo>
                    <a:pt x="3507" y="7845"/>
                  </a:moveTo>
                  <a:cubicBezTo>
                    <a:pt x="3395" y="7760"/>
                    <a:pt x="3384" y="7744"/>
                    <a:pt x="3333" y="7607"/>
                  </a:cubicBezTo>
                  <a:cubicBezTo>
                    <a:pt x="3303" y="7530"/>
                    <a:pt x="3245" y="7447"/>
                    <a:pt x="3029" y="7176"/>
                  </a:cubicBezTo>
                  <a:lnTo>
                    <a:pt x="2986" y="7122"/>
                  </a:lnTo>
                  <a:lnTo>
                    <a:pt x="2784" y="7208"/>
                  </a:lnTo>
                  <a:lnTo>
                    <a:pt x="2683" y="7111"/>
                  </a:lnTo>
                  <a:lnTo>
                    <a:pt x="2581" y="7013"/>
                  </a:lnTo>
                  <a:lnTo>
                    <a:pt x="2464" y="7023"/>
                  </a:lnTo>
                  <a:cubicBezTo>
                    <a:pt x="2400" y="7029"/>
                    <a:pt x="2336" y="7037"/>
                    <a:pt x="2322" y="7042"/>
                  </a:cubicBezTo>
                  <a:cubicBezTo>
                    <a:pt x="2309" y="7045"/>
                    <a:pt x="2256" y="7133"/>
                    <a:pt x="2207" y="7235"/>
                  </a:cubicBezTo>
                  <a:cubicBezTo>
                    <a:pt x="2138" y="7378"/>
                    <a:pt x="2112" y="7448"/>
                    <a:pt x="2106" y="7523"/>
                  </a:cubicBezTo>
                  <a:cubicBezTo>
                    <a:pt x="2098" y="7592"/>
                    <a:pt x="2085" y="7632"/>
                    <a:pt x="2064" y="7651"/>
                  </a:cubicBezTo>
                  <a:cubicBezTo>
                    <a:pt x="2034" y="7679"/>
                    <a:pt x="2031" y="7677"/>
                    <a:pt x="1989" y="7624"/>
                  </a:cubicBezTo>
                  <a:cubicBezTo>
                    <a:pt x="1959" y="7587"/>
                    <a:pt x="1936" y="7573"/>
                    <a:pt x="1919" y="7581"/>
                  </a:cubicBezTo>
                  <a:cubicBezTo>
                    <a:pt x="1869" y="7599"/>
                    <a:pt x="1643" y="7755"/>
                    <a:pt x="1586" y="7811"/>
                  </a:cubicBezTo>
                  <a:lnTo>
                    <a:pt x="1528" y="7866"/>
                  </a:lnTo>
                  <a:lnTo>
                    <a:pt x="1479" y="7823"/>
                  </a:lnTo>
                  <a:cubicBezTo>
                    <a:pt x="1418" y="7773"/>
                    <a:pt x="1416" y="7760"/>
                    <a:pt x="1453" y="7397"/>
                  </a:cubicBezTo>
                  <a:cubicBezTo>
                    <a:pt x="1467" y="7256"/>
                    <a:pt x="1474" y="7131"/>
                    <a:pt x="1471" y="7120"/>
                  </a:cubicBezTo>
                  <a:cubicBezTo>
                    <a:pt x="1466" y="7109"/>
                    <a:pt x="1439" y="7095"/>
                    <a:pt x="1411" y="7088"/>
                  </a:cubicBezTo>
                  <a:cubicBezTo>
                    <a:pt x="1376" y="7080"/>
                    <a:pt x="1344" y="7051"/>
                    <a:pt x="1298" y="6989"/>
                  </a:cubicBezTo>
                  <a:cubicBezTo>
                    <a:pt x="1240" y="6911"/>
                    <a:pt x="1234" y="6893"/>
                    <a:pt x="1242" y="6839"/>
                  </a:cubicBezTo>
                  <a:cubicBezTo>
                    <a:pt x="1247" y="6807"/>
                    <a:pt x="1256" y="6767"/>
                    <a:pt x="1261" y="6754"/>
                  </a:cubicBezTo>
                  <a:cubicBezTo>
                    <a:pt x="1267" y="6736"/>
                    <a:pt x="1250" y="6715"/>
                    <a:pt x="1197" y="6683"/>
                  </a:cubicBezTo>
                  <a:cubicBezTo>
                    <a:pt x="1152" y="6656"/>
                    <a:pt x="1125" y="6627"/>
                    <a:pt x="1123" y="6610"/>
                  </a:cubicBezTo>
                  <a:cubicBezTo>
                    <a:pt x="1123" y="6576"/>
                    <a:pt x="1063" y="6464"/>
                    <a:pt x="1000" y="6379"/>
                  </a:cubicBezTo>
                  <a:cubicBezTo>
                    <a:pt x="973" y="6341"/>
                    <a:pt x="944" y="6325"/>
                    <a:pt x="898" y="6317"/>
                  </a:cubicBezTo>
                  <a:cubicBezTo>
                    <a:pt x="839" y="6307"/>
                    <a:pt x="835" y="6306"/>
                    <a:pt x="861" y="6279"/>
                  </a:cubicBezTo>
                  <a:cubicBezTo>
                    <a:pt x="882" y="6255"/>
                    <a:pt x="883" y="6240"/>
                    <a:pt x="869" y="6195"/>
                  </a:cubicBezTo>
                  <a:cubicBezTo>
                    <a:pt x="835" y="6096"/>
                    <a:pt x="818" y="6090"/>
                    <a:pt x="579" y="6083"/>
                  </a:cubicBezTo>
                  <a:lnTo>
                    <a:pt x="363" y="6080"/>
                  </a:lnTo>
                  <a:lnTo>
                    <a:pt x="359" y="6003"/>
                  </a:lnTo>
                  <a:cubicBezTo>
                    <a:pt x="355" y="5954"/>
                    <a:pt x="365" y="5904"/>
                    <a:pt x="387" y="5855"/>
                  </a:cubicBezTo>
                  <a:cubicBezTo>
                    <a:pt x="405" y="5813"/>
                    <a:pt x="419" y="5765"/>
                    <a:pt x="419" y="5749"/>
                  </a:cubicBezTo>
                  <a:cubicBezTo>
                    <a:pt x="419" y="5731"/>
                    <a:pt x="386" y="5671"/>
                    <a:pt x="346" y="5615"/>
                  </a:cubicBezTo>
                  <a:cubicBezTo>
                    <a:pt x="287" y="5531"/>
                    <a:pt x="271" y="5493"/>
                    <a:pt x="259" y="5410"/>
                  </a:cubicBezTo>
                  <a:cubicBezTo>
                    <a:pt x="242" y="5293"/>
                    <a:pt x="231" y="5256"/>
                    <a:pt x="210" y="5256"/>
                  </a:cubicBezTo>
                  <a:cubicBezTo>
                    <a:pt x="173" y="5256"/>
                    <a:pt x="181" y="5205"/>
                    <a:pt x="229" y="5139"/>
                  </a:cubicBezTo>
                  <a:lnTo>
                    <a:pt x="280" y="5066"/>
                  </a:lnTo>
                  <a:lnTo>
                    <a:pt x="221" y="4765"/>
                  </a:lnTo>
                  <a:lnTo>
                    <a:pt x="163" y="4464"/>
                  </a:lnTo>
                  <a:lnTo>
                    <a:pt x="82" y="4383"/>
                  </a:lnTo>
                  <a:lnTo>
                    <a:pt x="0" y="4299"/>
                  </a:lnTo>
                  <a:lnTo>
                    <a:pt x="91" y="4208"/>
                  </a:lnTo>
                  <a:cubicBezTo>
                    <a:pt x="178" y="4122"/>
                    <a:pt x="187" y="4117"/>
                    <a:pt x="245" y="4123"/>
                  </a:cubicBezTo>
                  <a:cubicBezTo>
                    <a:pt x="330" y="4136"/>
                    <a:pt x="347" y="4107"/>
                    <a:pt x="370" y="3928"/>
                  </a:cubicBezTo>
                  <a:cubicBezTo>
                    <a:pt x="381" y="3843"/>
                    <a:pt x="394" y="3763"/>
                    <a:pt x="399" y="3747"/>
                  </a:cubicBezTo>
                  <a:cubicBezTo>
                    <a:pt x="402" y="3731"/>
                    <a:pt x="453" y="3666"/>
                    <a:pt x="509" y="3603"/>
                  </a:cubicBezTo>
                  <a:cubicBezTo>
                    <a:pt x="565" y="3539"/>
                    <a:pt x="611" y="3475"/>
                    <a:pt x="611" y="3461"/>
                  </a:cubicBezTo>
                  <a:cubicBezTo>
                    <a:pt x="611" y="3416"/>
                    <a:pt x="365" y="3059"/>
                    <a:pt x="291" y="2995"/>
                  </a:cubicBezTo>
                  <a:cubicBezTo>
                    <a:pt x="226" y="2939"/>
                    <a:pt x="219" y="2927"/>
                    <a:pt x="187" y="2779"/>
                  </a:cubicBezTo>
                  <a:cubicBezTo>
                    <a:pt x="168" y="2695"/>
                    <a:pt x="155" y="2613"/>
                    <a:pt x="159" y="2600"/>
                  </a:cubicBezTo>
                  <a:cubicBezTo>
                    <a:pt x="165" y="2575"/>
                    <a:pt x="263" y="2504"/>
                    <a:pt x="291" y="2504"/>
                  </a:cubicBezTo>
                  <a:cubicBezTo>
                    <a:pt x="299" y="2504"/>
                    <a:pt x="322" y="2533"/>
                    <a:pt x="339" y="2568"/>
                  </a:cubicBezTo>
                  <a:cubicBezTo>
                    <a:pt x="383" y="2653"/>
                    <a:pt x="419" y="2651"/>
                    <a:pt x="464" y="2560"/>
                  </a:cubicBezTo>
                  <a:cubicBezTo>
                    <a:pt x="507" y="2471"/>
                    <a:pt x="541" y="2450"/>
                    <a:pt x="706" y="2408"/>
                  </a:cubicBezTo>
                  <a:cubicBezTo>
                    <a:pt x="840" y="2376"/>
                    <a:pt x="867" y="2376"/>
                    <a:pt x="867" y="2415"/>
                  </a:cubicBezTo>
                  <a:cubicBezTo>
                    <a:pt x="867" y="2448"/>
                    <a:pt x="962" y="2520"/>
                    <a:pt x="1005" y="2520"/>
                  </a:cubicBezTo>
                  <a:cubicBezTo>
                    <a:pt x="1026" y="2520"/>
                    <a:pt x="1128" y="2485"/>
                    <a:pt x="1232" y="2442"/>
                  </a:cubicBezTo>
                  <a:cubicBezTo>
                    <a:pt x="1335" y="2399"/>
                    <a:pt x="1435" y="2359"/>
                    <a:pt x="1455" y="2354"/>
                  </a:cubicBezTo>
                  <a:cubicBezTo>
                    <a:pt x="1507" y="2336"/>
                    <a:pt x="1511" y="2303"/>
                    <a:pt x="1467" y="2205"/>
                  </a:cubicBezTo>
                  <a:cubicBezTo>
                    <a:pt x="1421" y="2103"/>
                    <a:pt x="1419" y="2074"/>
                    <a:pt x="1450" y="2031"/>
                  </a:cubicBezTo>
                  <a:cubicBezTo>
                    <a:pt x="1469" y="2005"/>
                    <a:pt x="1490" y="2002"/>
                    <a:pt x="1594" y="2005"/>
                  </a:cubicBezTo>
                  <a:cubicBezTo>
                    <a:pt x="1711" y="2010"/>
                    <a:pt x="1719" y="2008"/>
                    <a:pt x="1773" y="1960"/>
                  </a:cubicBezTo>
                  <a:cubicBezTo>
                    <a:pt x="1803" y="1935"/>
                    <a:pt x="1835" y="1912"/>
                    <a:pt x="1842" y="1912"/>
                  </a:cubicBezTo>
                  <a:cubicBezTo>
                    <a:pt x="1850" y="1912"/>
                    <a:pt x="1930" y="1978"/>
                    <a:pt x="2021" y="2059"/>
                  </a:cubicBezTo>
                  <a:cubicBezTo>
                    <a:pt x="2147" y="2175"/>
                    <a:pt x="2178" y="2208"/>
                    <a:pt x="2154" y="2213"/>
                  </a:cubicBezTo>
                  <a:cubicBezTo>
                    <a:pt x="2120" y="2219"/>
                    <a:pt x="2083" y="2245"/>
                    <a:pt x="2083" y="2264"/>
                  </a:cubicBezTo>
                  <a:cubicBezTo>
                    <a:pt x="2083" y="2271"/>
                    <a:pt x="2139" y="2317"/>
                    <a:pt x="2207" y="2368"/>
                  </a:cubicBezTo>
                  <a:cubicBezTo>
                    <a:pt x="2315" y="2450"/>
                    <a:pt x="2359" y="2471"/>
                    <a:pt x="2546" y="2531"/>
                  </a:cubicBezTo>
                  <a:cubicBezTo>
                    <a:pt x="2832" y="2623"/>
                    <a:pt x="2834" y="2621"/>
                    <a:pt x="2751" y="2371"/>
                  </a:cubicBezTo>
                  <a:cubicBezTo>
                    <a:pt x="2719" y="2272"/>
                    <a:pt x="2691" y="2178"/>
                    <a:pt x="2691" y="2163"/>
                  </a:cubicBezTo>
                  <a:cubicBezTo>
                    <a:pt x="2691" y="2141"/>
                    <a:pt x="2712" y="2138"/>
                    <a:pt x="2840" y="2141"/>
                  </a:cubicBezTo>
                  <a:lnTo>
                    <a:pt x="2987" y="2144"/>
                  </a:lnTo>
                  <a:lnTo>
                    <a:pt x="3019" y="2051"/>
                  </a:lnTo>
                  <a:cubicBezTo>
                    <a:pt x="3037" y="2002"/>
                    <a:pt x="3061" y="1957"/>
                    <a:pt x="3074" y="1952"/>
                  </a:cubicBezTo>
                  <a:cubicBezTo>
                    <a:pt x="3087" y="1947"/>
                    <a:pt x="3141" y="1938"/>
                    <a:pt x="3194" y="1933"/>
                  </a:cubicBezTo>
                  <a:cubicBezTo>
                    <a:pt x="3320" y="1920"/>
                    <a:pt x="3351" y="1904"/>
                    <a:pt x="3339" y="1859"/>
                  </a:cubicBezTo>
                  <a:cubicBezTo>
                    <a:pt x="3331" y="1832"/>
                    <a:pt x="3347" y="1808"/>
                    <a:pt x="3403" y="1754"/>
                  </a:cubicBezTo>
                  <a:cubicBezTo>
                    <a:pt x="3443" y="1715"/>
                    <a:pt x="3475" y="1679"/>
                    <a:pt x="3475" y="1671"/>
                  </a:cubicBezTo>
                  <a:cubicBezTo>
                    <a:pt x="3475" y="1663"/>
                    <a:pt x="3426" y="1618"/>
                    <a:pt x="3363" y="1573"/>
                  </a:cubicBezTo>
                  <a:cubicBezTo>
                    <a:pt x="3248" y="1490"/>
                    <a:pt x="3242" y="1480"/>
                    <a:pt x="3231" y="1347"/>
                  </a:cubicBezTo>
                  <a:cubicBezTo>
                    <a:pt x="3223" y="1258"/>
                    <a:pt x="3229" y="1248"/>
                    <a:pt x="3360" y="1175"/>
                  </a:cubicBezTo>
                  <a:cubicBezTo>
                    <a:pt x="3648" y="1011"/>
                    <a:pt x="3835" y="895"/>
                    <a:pt x="3931" y="815"/>
                  </a:cubicBezTo>
                  <a:cubicBezTo>
                    <a:pt x="4029" y="735"/>
                    <a:pt x="4047" y="727"/>
                    <a:pt x="4106" y="731"/>
                  </a:cubicBezTo>
                  <a:cubicBezTo>
                    <a:pt x="4176" y="736"/>
                    <a:pt x="4175" y="733"/>
                    <a:pt x="4152" y="842"/>
                  </a:cubicBezTo>
                  <a:cubicBezTo>
                    <a:pt x="4147" y="867"/>
                    <a:pt x="4152" y="887"/>
                    <a:pt x="4167" y="891"/>
                  </a:cubicBezTo>
                  <a:cubicBezTo>
                    <a:pt x="4189" y="899"/>
                    <a:pt x="4704" y="791"/>
                    <a:pt x="4736" y="770"/>
                  </a:cubicBezTo>
                  <a:cubicBezTo>
                    <a:pt x="4747" y="763"/>
                    <a:pt x="4816" y="637"/>
                    <a:pt x="4891" y="490"/>
                  </a:cubicBezTo>
                  <a:lnTo>
                    <a:pt x="5027" y="221"/>
                  </a:lnTo>
                  <a:lnTo>
                    <a:pt x="5155" y="154"/>
                  </a:lnTo>
                  <a:cubicBezTo>
                    <a:pt x="5282" y="88"/>
                    <a:pt x="5285" y="88"/>
                    <a:pt x="5375" y="104"/>
                  </a:cubicBezTo>
                  <a:cubicBezTo>
                    <a:pt x="5443" y="117"/>
                    <a:pt x="5475" y="133"/>
                    <a:pt x="5503" y="165"/>
                  </a:cubicBezTo>
                  <a:cubicBezTo>
                    <a:pt x="5522" y="189"/>
                    <a:pt x="5539" y="215"/>
                    <a:pt x="5539" y="221"/>
                  </a:cubicBezTo>
                  <a:cubicBezTo>
                    <a:pt x="5539" y="226"/>
                    <a:pt x="5554" y="235"/>
                    <a:pt x="5571" y="242"/>
                  </a:cubicBezTo>
                  <a:cubicBezTo>
                    <a:pt x="5619" y="256"/>
                    <a:pt x="5792" y="133"/>
                    <a:pt x="5821" y="63"/>
                  </a:cubicBezTo>
                  <a:cubicBezTo>
                    <a:pt x="5848" y="0"/>
                    <a:pt x="5845" y="0"/>
                    <a:pt x="6008" y="66"/>
                  </a:cubicBezTo>
                  <a:cubicBezTo>
                    <a:pt x="6104" y="104"/>
                    <a:pt x="6227" y="192"/>
                    <a:pt x="6227" y="219"/>
                  </a:cubicBezTo>
                  <a:cubicBezTo>
                    <a:pt x="6227" y="229"/>
                    <a:pt x="6213" y="255"/>
                    <a:pt x="6195" y="277"/>
                  </a:cubicBezTo>
                  <a:cubicBezTo>
                    <a:pt x="6178" y="299"/>
                    <a:pt x="6163" y="339"/>
                    <a:pt x="6163" y="365"/>
                  </a:cubicBezTo>
                  <a:cubicBezTo>
                    <a:pt x="6163" y="421"/>
                    <a:pt x="6143" y="463"/>
                    <a:pt x="6082" y="535"/>
                  </a:cubicBezTo>
                  <a:cubicBezTo>
                    <a:pt x="6040" y="581"/>
                    <a:pt x="6035" y="597"/>
                    <a:pt x="6035" y="701"/>
                  </a:cubicBezTo>
                  <a:cubicBezTo>
                    <a:pt x="6035" y="799"/>
                    <a:pt x="6042" y="824"/>
                    <a:pt x="6067" y="847"/>
                  </a:cubicBezTo>
                  <a:cubicBezTo>
                    <a:pt x="6085" y="863"/>
                    <a:pt x="6103" y="888"/>
                    <a:pt x="6107" y="904"/>
                  </a:cubicBezTo>
                  <a:cubicBezTo>
                    <a:pt x="6123" y="955"/>
                    <a:pt x="6231" y="989"/>
                    <a:pt x="6344" y="976"/>
                  </a:cubicBezTo>
                  <a:lnTo>
                    <a:pt x="6447" y="965"/>
                  </a:lnTo>
                  <a:lnTo>
                    <a:pt x="6535" y="1063"/>
                  </a:lnTo>
                  <a:lnTo>
                    <a:pt x="6624" y="1162"/>
                  </a:lnTo>
                  <a:lnTo>
                    <a:pt x="6605" y="1245"/>
                  </a:lnTo>
                  <a:cubicBezTo>
                    <a:pt x="6587" y="1322"/>
                    <a:pt x="6583" y="1328"/>
                    <a:pt x="6531" y="1336"/>
                  </a:cubicBezTo>
                  <a:cubicBezTo>
                    <a:pt x="6490" y="1343"/>
                    <a:pt x="6475" y="1354"/>
                    <a:pt x="6467" y="1383"/>
                  </a:cubicBezTo>
                  <a:cubicBezTo>
                    <a:pt x="6461" y="1410"/>
                    <a:pt x="6418" y="1448"/>
                    <a:pt x="6336" y="1503"/>
                  </a:cubicBezTo>
                  <a:cubicBezTo>
                    <a:pt x="6267" y="1547"/>
                    <a:pt x="6213" y="1594"/>
                    <a:pt x="6213" y="1608"/>
                  </a:cubicBezTo>
                  <a:cubicBezTo>
                    <a:pt x="6211" y="1621"/>
                    <a:pt x="6237" y="1648"/>
                    <a:pt x="6269" y="1669"/>
                  </a:cubicBezTo>
                  <a:cubicBezTo>
                    <a:pt x="6315" y="1699"/>
                    <a:pt x="6325" y="1712"/>
                    <a:pt x="6315" y="1741"/>
                  </a:cubicBezTo>
                  <a:cubicBezTo>
                    <a:pt x="6285" y="1839"/>
                    <a:pt x="6287" y="1845"/>
                    <a:pt x="6346" y="1882"/>
                  </a:cubicBezTo>
                  <a:cubicBezTo>
                    <a:pt x="6402" y="1919"/>
                    <a:pt x="6405" y="1922"/>
                    <a:pt x="6395" y="1992"/>
                  </a:cubicBezTo>
                  <a:cubicBezTo>
                    <a:pt x="6386" y="2064"/>
                    <a:pt x="6387" y="2067"/>
                    <a:pt x="6474" y="2160"/>
                  </a:cubicBezTo>
                  <a:cubicBezTo>
                    <a:pt x="6523" y="2213"/>
                    <a:pt x="6563" y="2264"/>
                    <a:pt x="6563" y="2274"/>
                  </a:cubicBezTo>
                  <a:cubicBezTo>
                    <a:pt x="6563" y="2283"/>
                    <a:pt x="6535" y="2325"/>
                    <a:pt x="6498" y="2367"/>
                  </a:cubicBezTo>
                  <a:cubicBezTo>
                    <a:pt x="6442" y="2429"/>
                    <a:pt x="6434" y="2448"/>
                    <a:pt x="6439" y="2498"/>
                  </a:cubicBezTo>
                  <a:cubicBezTo>
                    <a:pt x="6445" y="2554"/>
                    <a:pt x="6445" y="2554"/>
                    <a:pt x="6392" y="2544"/>
                  </a:cubicBezTo>
                  <a:cubicBezTo>
                    <a:pt x="6343" y="2535"/>
                    <a:pt x="6328" y="2543"/>
                    <a:pt x="6227" y="2632"/>
                  </a:cubicBezTo>
                  <a:cubicBezTo>
                    <a:pt x="6165" y="2687"/>
                    <a:pt x="6115" y="2739"/>
                    <a:pt x="6115" y="2751"/>
                  </a:cubicBezTo>
                  <a:cubicBezTo>
                    <a:pt x="6115" y="2760"/>
                    <a:pt x="6141" y="2794"/>
                    <a:pt x="6171" y="2824"/>
                  </a:cubicBezTo>
                  <a:cubicBezTo>
                    <a:pt x="6203" y="2855"/>
                    <a:pt x="6226" y="2885"/>
                    <a:pt x="6223" y="2893"/>
                  </a:cubicBezTo>
                  <a:cubicBezTo>
                    <a:pt x="6221" y="2899"/>
                    <a:pt x="6176" y="2930"/>
                    <a:pt x="6123" y="2957"/>
                  </a:cubicBezTo>
                  <a:lnTo>
                    <a:pt x="6027" y="3008"/>
                  </a:lnTo>
                  <a:lnTo>
                    <a:pt x="6023" y="3112"/>
                  </a:lnTo>
                  <a:cubicBezTo>
                    <a:pt x="6016" y="3259"/>
                    <a:pt x="6079" y="3391"/>
                    <a:pt x="6218" y="3523"/>
                  </a:cubicBezTo>
                  <a:lnTo>
                    <a:pt x="6319" y="3621"/>
                  </a:lnTo>
                  <a:lnTo>
                    <a:pt x="6341" y="3754"/>
                  </a:lnTo>
                  <a:cubicBezTo>
                    <a:pt x="6373" y="3944"/>
                    <a:pt x="6376" y="3936"/>
                    <a:pt x="6285" y="3936"/>
                  </a:cubicBezTo>
                  <a:cubicBezTo>
                    <a:pt x="6207" y="3936"/>
                    <a:pt x="6205" y="3936"/>
                    <a:pt x="6168" y="4010"/>
                  </a:cubicBezTo>
                  <a:cubicBezTo>
                    <a:pt x="6122" y="4103"/>
                    <a:pt x="6067" y="4125"/>
                    <a:pt x="5893" y="4122"/>
                  </a:cubicBezTo>
                  <a:cubicBezTo>
                    <a:pt x="5775" y="4119"/>
                    <a:pt x="5770" y="4120"/>
                    <a:pt x="5743" y="4165"/>
                  </a:cubicBezTo>
                  <a:cubicBezTo>
                    <a:pt x="5728" y="4192"/>
                    <a:pt x="5715" y="4223"/>
                    <a:pt x="5715" y="4235"/>
                  </a:cubicBezTo>
                  <a:cubicBezTo>
                    <a:pt x="5715" y="4248"/>
                    <a:pt x="5749" y="4320"/>
                    <a:pt x="5789" y="4397"/>
                  </a:cubicBezTo>
                  <a:lnTo>
                    <a:pt x="5861" y="4536"/>
                  </a:lnTo>
                  <a:lnTo>
                    <a:pt x="5811" y="4599"/>
                  </a:lnTo>
                  <a:lnTo>
                    <a:pt x="5760" y="4661"/>
                  </a:lnTo>
                  <a:lnTo>
                    <a:pt x="5786" y="4781"/>
                  </a:lnTo>
                  <a:cubicBezTo>
                    <a:pt x="5808" y="4895"/>
                    <a:pt x="5819" y="4914"/>
                    <a:pt x="5939" y="5066"/>
                  </a:cubicBezTo>
                  <a:cubicBezTo>
                    <a:pt x="6071" y="5232"/>
                    <a:pt x="6077" y="5255"/>
                    <a:pt x="5994" y="5256"/>
                  </a:cubicBezTo>
                  <a:cubicBezTo>
                    <a:pt x="5957" y="5256"/>
                    <a:pt x="5939" y="5312"/>
                    <a:pt x="5939" y="5440"/>
                  </a:cubicBezTo>
                  <a:lnTo>
                    <a:pt x="5939" y="5504"/>
                  </a:lnTo>
                  <a:lnTo>
                    <a:pt x="5840" y="5536"/>
                  </a:lnTo>
                  <a:lnTo>
                    <a:pt x="5739" y="5568"/>
                  </a:lnTo>
                  <a:lnTo>
                    <a:pt x="5749" y="5760"/>
                  </a:lnTo>
                  <a:lnTo>
                    <a:pt x="5592" y="5843"/>
                  </a:lnTo>
                  <a:lnTo>
                    <a:pt x="5435" y="5925"/>
                  </a:lnTo>
                  <a:lnTo>
                    <a:pt x="5442" y="6157"/>
                  </a:lnTo>
                  <a:cubicBezTo>
                    <a:pt x="5447" y="6379"/>
                    <a:pt x="5445" y="6389"/>
                    <a:pt x="5413" y="6407"/>
                  </a:cubicBezTo>
                  <a:cubicBezTo>
                    <a:pt x="5362" y="6434"/>
                    <a:pt x="5373" y="6466"/>
                    <a:pt x="5448" y="6507"/>
                  </a:cubicBezTo>
                  <a:cubicBezTo>
                    <a:pt x="5519" y="6547"/>
                    <a:pt x="5519" y="6549"/>
                    <a:pt x="5501" y="6659"/>
                  </a:cubicBezTo>
                  <a:lnTo>
                    <a:pt x="5490" y="6725"/>
                  </a:lnTo>
                  <a:lnTo>
                    <a:pt x="5594" y="6786"/>
                  </a:lnTo>
                  <a:cubicBezTo>
                    <a:pt x="5651" y="6819"/>
                    <a:pt x="5703" y="6856"/>
                    <a:pt x="5707" y="6869"/>
                  </a:cubicBezTo>
                  <a:cubicBezTo>
                    <a:pt x="5712" y="6882"/>
                    <a:pt x="5707" y="6917"/>
                    <a:pt x="5696" y="6947"/>
                  </a:cubicBezTo>
                  <a:cubicBezTo>
                    <a:pt x="5679" y="6994"/>
                    <a:pt x="5682" y="7021"/>
                    <a:pt x="5712" y="7139"/>
                  </a:cubicBezTo>
                  <a:cubicBezTo>
                    <a:pt x="5752" y="7296"/>
                    <a:pt x="5749" y="7307"/>
                    <a:pt x="5643" y="7335"/>
                  </a:cubicBezTo>
                  <a:cubicBezTo>
                    <a:pt x="5583" y="7349"/>
                    <a:pt x="5567" y="7363"/>
                    <a:pt x="5515" y="7445"/>
                  </a:cubicBezTo>
                  <a:cubicBezTo>
                    <a:pt x="5461" y="7533"/>
                    <a:pt x="5453" y="7541"/>
                    <a:pt x="5367" y="7560"/>
                  </a:cubicBezTo>
                  <a:cubicBezTo>
                    <a:pt x="5307" y="7575"/>
                    <a:pt x="5229" y="7615"/>
                    <a:pt x="5136" y="7677"/>
                  </a:cubicBezTo>
                  <a:cubicBezTo>
                    <a:pt x="5003" y="7767"/>
                    <a:pt x="4991" y="7771"/>
                    <a:pt x="4925" y="7760"/>
                  </a:cubicBezTo>
                  <a:cubicBezTo>
                    <a:pt x="4871" y="7752"/>
                    <a:pt x="4837" y="7759"/>
                    <a:pt x="4763" y="7791"/>
                  </a:cubicBezTo>
                  <a:cubicBezTo>
                    <a:pt x="4647" y="7843"/>
                    <a:pt x="4631" y="7842"/>
                    <a:pt x="4531" y="7781"/>
                  </a:cubicBezTo>
                  <a:lnTo>
                    <a:pt x="4450" y="7730"/>
                  </a:lnTo>
                  <a:lnTo>
                    <a:pt x="4317" y="7773"/>
                  </a:lnTo>
                  <a:cubicBezTo>
                    <a:pt x="4173" y="7819"/>
                    <a:pt x="4021" y="7829"/>
                    <a:pt x="3903" y="7797"/>
                  </a:cubicBezTo>
                  <a:cubicBezTo>
                    <a:pt x="3835" y="7779"/>
                    <a:pt x="3832" y="7779"/>
                    <a:pt x="3731" y="7853"/>
                  </a:cubicBezTo>
                  <a:cubicBezTo>
                    <a:pt x="3675" y="7895"/>
                    <a:pt x="3626" y="7927"/>
                    <a:pt x="3621" y="7927"/>
                  </a:cubicBezTo>
                  <a:cubicBezTo>
                    <a:pt x="3616" y="7927"/>
                    <a:pt x="3565" y="7890"/>
                    <a:pt x="3507" y="7845"/>
                  </a:cubicBezTo>
                  <a:close/>
                </a:path>
              </a:pathLst>
            </a:custGeom>
            <a:solidFill>
              <a:srgbClr val="E1EFF6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07" name="Северная Осетия-Алания">
              <a:extLst>
                <a:ext uri="{FF2B5EF4-FFF2-40B4-BE49-F238E27FC236}">
                  <a16:creationId xmlns="" xmlns:a16="http://schemas.microsoft.com/office/drawing/2014/main" id="{00000000-0008-0000-0300-000072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593" y="7917071"/>
              <a:ext cx="200661" cy="138228"/>
            </a:xfrm>
            <a:custGeom>
              <a:avLst/>
              <a:gdLst/>
              <a:ahLst/>
              <a:cxnLst>
                <a:cxn ang="0">
                  <a:pos x="158" y="210"/>
                </a:cxn>
                <a:cxn ang="0">
                  <a:pos x="8" y="71"/>
                </a:cxn>
                <a:cxn ang="0">
                  <a:pos x="81" y="16"/>
                </a:cxn>
                <a:cxn ang="0">
                  <a:pos x="238" y="2"/>
                </a:cxn>
                <a:cxn ang="0">
                  <a:pos x="310" y="8"/>
                </a:cxn>
                <a:cxn ang="0">
                  <a:pos x="315" y="101"/>
                </a:cxn>
                <a:cxn ang="0">
                  <a:pos x="272" y="239"/>
                </a:cxn>
                <a:cxn ang="0">
                  <a:pos x="158" y="210"/>
                </a:cxn>
              </a:cxnLst>
              <a:rect l="0" t="0" r="r" b="b"/>
              <a:pathLst>
                <a:path w="320" h="243">
                  <a:moveTo>
                    <a:pt x="158" y="210"/>
                  </a:moveTo>
                  <a:cubicBezTo>
                    <a:pt x="52" y="183"/>
                    <a:pt x="36" y="167"/>
                    <a:pt x="8" y="71"/>
                  </a:cubicBezTo>
                  <a:cubicBezTo>
                    <a:pt x="0" y="40"/>
                    <a:pt x="8" y="34"/>
                    <a:pt x="81" y="16"/>
                  </a:cubicBezTo>
                  <a:cubicBezTo>
                    <a:pt x="128" y="7"/>
                    <a:pt x="198" y="0"/>
                    <a:pt x="238" y="2"/>
                  </a:cubicBezTo>
                  <a:lnTo>
                    <a:pt x="310" y="8"/>
                  </a:lnTo>
                  <a:lnTo>
                    <a:pt x="315" y="101"/>
                  </a:lnTo>
                  <a:cubicBezTo>
                    <a:pt x="320" y="186"/>
                    <a:pt x="302" y="243"/>
                    <a:pt x="272" y="239"/>
                  </a:cubicBezTo>
                  <a:cubicBezTo>
                    <a:pt x="267" y="237"/>
                    <a:pt x="216" y="224"/>
                    <a:pt x="158" y="210"/>
                  </a:cubicBezTo>
                  <a:close/>
                </a:path>
              </a:pathLst>
            </a:custGeom>
            <a:solidFill>
              <a:srgbClr val="E1EFF6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08" name="Республика Татарстан">
              <a:extLst>
                <a:ext uri="{FF2B5EF4-FFF2-40B4-BE49-F238E27FC236}">
                  <a16:creationId xmlns="" xmlns:a16="http://schemas.microsoft.com/office/drawing/2014/main" id="{00000000-0008-0000-0300-000073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2466" y="6074035"/>
              <a:ext cx="872875" cy="654278"/>
            </a:xfrm>
            <a:custGeom>
              <a:avLst/>
              <a:gdLst/>
              <a:ahLst/>
              <a:cxnLst>
                <a:cxn ang="0">
                  <a:pos x="912" y="1036"/>
                </a:cxn>
                <a:cxn ang="0">
                  <a:pos x="832" y="949"/>
                </a:cxn>
                <a:cxn ang="0">
                  <a:pos x="784" y="818"/>
                </a:cxn>
                <a:cxn ang="0">
                  <a:pos x="656" y="717"/>
                </a:cxn>
                <a:cxn ang="0">
                  <a:pos x="595" y="749"/>
                </a:cxn>
                <a:cxn ang="0">
                  <a:pos x="552" y="783"/>
                </a:cxn>
                <a:cxn ang="0">
                  <a:pos x="517" y="738"/>
                </a:cxn>
                <a:cxn ang="0">
                  <a:pos x="480" y="676"/>
                </a:cxn>
                <a:cxn ang="0">
                  <a:pos x="443" y="623"/>
                </a:cxn>
                <a:cxn ang="0">
                  <a:pos x="386" y="524"/>
                </a:cxn>
                <a:cxn ang="0">
                  <a:pos x="315" y="461"/>
                </a:cxn>
                <a:cxn ang="0">
                  <a:pos x="203" y="394"/>
                </a:cxn>
                <a:cxn ang="0">
                  <a:pos x="93" y="346"/>
                </a:cxn>
                <a:cxn ang="0">
                  <a:pos x="3" y="317"/>
                </a:cxn>
                <a:cxn ang="0">
                  <a:pos x="43" y="292"/>
                </a:cxn>
                <a:cxn ang="0">
                  <a:pos x="165" y="288"/>
                </a:cxn>
                <a:cxn ang="0">
                  <a:pos x="243" y="285"/>
                </a:cxn>
                <a:cxn ang="0">
                  <a:pos x="237" y="218"/>
                </a:cxn>
                <a:cxn ang="0">
                  <a:pos x="232" y="151"/>
                </a:cxn>
                <a:cxn ang="0">
                  <a:pos x="320" y="122"/>
                </a:cxn>
                <a:cxn ang="0">
                  <a:pos x="555" y="47"/>
                </a:cxn>
                <a:cxn ang="0">
                  <a:pos x="701" y="0"/>
                </a:cxn>
                <a:cxn ang="0">
                  <a:pos x="758" y="39"/>
                </a:cxn>
                <a:cxn ang="0">
                  <a:pos x="854" y="68"/>
                </a:cxn>
                <a:cxn ang="0">
                  <a:pos x="938" y="276"/>
                </a:cxn>
                <a:cxn ang="0">
                  <a:pos x="1022" y="484"/>
                </a:cxn>
                <a:cxn ang="0">
                  <a:pos x="1176" y="445"/>
                </a:cxn>
                <a:cxn ang="0">
                  <a:pos x="1330" y="405"/>
                </a:cxn>
                <a:cxn ang="0">
                  <a:pos x="1296" y="530"/>
                </a:cxn>
                <a:cxn ang="0">
                  <a:pos x="1288" y="628"/>
                </a:cxn>
                <a:cxn ang="0">
                  <a:pos x="1344" y="730"/>
                </a:cxn>
                <a:cxn ang="0">
                  <a:pos x="1224" y="772"/>
                </a:cxn>
                <a:cxn ang="0">
                  <a:pos x="1128" y="805"/>
                </a:cxn>
                <a:cxn ang="0">
                  <a:pos x="1120" y="879"/>
                </a:cxn>
                <a:cxn ang="0">
                  <a:pos x="1051" y="1044"/>
                </a:cxn>
                <a:cxn ang="0">
                  <a:pos x="984" y="1133"/>
                </a:cxn>
                <a:cxn ang="0">
                  <a:pos x="912" y="1036"/>
                </a:cxn>
              </a:cxnLst>
              <a:rect l="0" t="0" r="r" b="b"/>
              <a:pathLst>
                <a:path w="1381" h="1133">
                  <a:moveTo>
                    <a:pt x="912" y="1036"/>
                  </a:moveTo>
                  <a:cubicBezTo>
                    <a:pt x="875" y="983"/>
                    <a:pt x="840" y="944"/>
                    <a:pt x="832" y="949"/>
                  </a:cubicBezTo>
                  <a:cubicBezTo>
                    <a:pt x="819" y="957"/>
                    <a:pt x="784" y="863"/>
                    <a:pt x="784" y="818"/>
                  </a:cubicBezTo>
                  <a:cubicBezTo>
                    <a:pt x="784" y="797"/>
                    <a:pt x="683" y="717"/>
                    <a:pt x="656" y="717"/>
                  </a:cubicBezTo>
                  <a:cubicBezTo>
                    <a:pt x="645" y="717"/>
                    <a:pt x="618" y="732"/>
                    <a:pt x="595" y="749"/>
                  </a:cubicBezTo>
                  <a:lnTo>
                    <a:pt x="552" y="783"/>
                  </a:lnTo>
                  <a:lnTo>
                    <a:pt x="517" y="738"/>
                  </a:lnTo>
                  <a:cubicBezTo>
                    <a:pt x="496" y="712"/>
                    <a:pt x="480" y="685"/>
                    <a:pt x="480" y="676"/>
                  </a:cubicBezTo>
                  <a:cubicBezTo>
                    <a:pt x="480" y="666"/>
                    <a:pt x="462" y="642"/>
                    <a:pt x="443" y="623"/>
                  </a:cubicBezTo>
                  <a:cubicBezTo>
                    <a:pt x="422" y="604"/>
                    <a:pt x="397" y="559"/>
                    <a:pt x="386" y="524"/>
                  </a:cubicBezTo>
                  <a:cubicBezTo>
                    <a:pt x="370" y="468"/>
                    <a:pt x="362" y="461"/>
                    <a:pt x="315" y="461"/>
                  </a:cubicBezTo>
                  <a:cubicBezTo>
                    <a:pt x="256" y="460"/>
                    <a:pt x="240" y="452"/>
                    <a:pt x="203" y="394"/>
                  </a:cubicBezTo>
                  <a:cubicBezTo>
                    <a:pt x="181" y="357"/>
                    <a:pt x="163" y="349"/>
                    <a:pt x="93" y="346"/>
                  </a:cubicBezTo>
                  <a:cubicBezTo>
                    <a:pt x="34" y="343"/>
                    <a:pt x="6" y="333"/>
                    <a:pt x="3" y="317"/>
                  </a:cubicBezTo>
                  <a:cubicBezTo>
                    <a:pt x="0" y="300"/>
                    <a:pt x="13" y="292"/>
                    <a:pt x="43" y="292"/>
                  </a:cubicBezTo>
                  <a:cubicBezTo>
                    <a:pt x="69" y="292"/>
                    <a:pt x="123" y="290"/>
                    <a:pt x="165" y="288"/>
                  </a:cubicBezTo>
                  <a:lnTo>
                    <a:pt x="243" y="285"/>
                  </a:lnTo>
                  <a:lnTo>
                    <a:pt x="237" y="218"/>
                  </a:lnTo>
                  <a:lnTo>
                    <a:pt x="232" y="151"/>
                  </a:lnTo>
                  <a:lnTo>
                    <a:pt x="320" y="122"/>
                  </a:lnTo>
                  <a:cubicBezTo>
                    <a:pt x="368" y="106"/>
                    <a:pt x="474" y="72"/>
                    <a:pt x="555" y="47"/>
                  </a:cubicBezTo>
                  <a:lnTo>
                    <a:pt x="701" y="0"/>
                  </a:lnTo>
                  <a:lnTo>
                    <a:pt x="758" y="39"/>
                  </a:lnTo>
                  <a:cubicBezTo>
                    <a:pt x="797" y="66"/>
                    <a:pt x="827" y="74"/>
                    <a:pt x="854" y="68"/>
                  </a:cubicBezTo>
                  <a:cubicBezTo>
                    <a:pt x="896" y="58"/>
                    <a:pt x="899" y="64"/>
                    <a:pt x="938" y="276"/>
                  </a:cubicBezTo>
                  <a:cubicBezTo>
                    <a:pt x="950" y="346"/>
                    <a:pt x="1002" y="471"/>
                    <a:pt x="1022" y="484"/>
                  </a:cubicBezTo>
                  <a:cubicBezTo>
                    <a:pt x="1030" y="488"/>
                    <a:pt x="1099" y="471"/>
                    <a:pt x="1176" y="445"/>
                  </a:cubicBezTo>
                  <a:cubicBezTo>
                    <a:pt x="1253" y="418"/>
                    <a:pt x="1323" y="402"/>
                    <a:pt x="1330" y="405"/>
                  </a:cubicBezTo>
                  <a:cubicBezTo>
                    <a:pt x="1358" y="423"/>
                    <a:pt x="1342" y="477"/>
                    <a:pt x="1296" y="530"/>
                  </a:cubicBezTo>
                  <a:cubicBezTo>
                    <a:pt x="1237" y="597"/>
                    <a:pt x="1237" y="615"/>
                    <a:pt x="1288" y="628"/>
                  </a:cubicBezTo>
                  <a:cubicBezTo>
                    <a:pt x="1339" y="640"/>
                    <a:pt x="1381" y="717"/>
                    <a:pt x="1344" y="730"/>
                  </a:cubicBezTo>
                  <a:cubicBezTo>
                    <a:pt x="1331" y="735"/>
                    <a:pt x="1277" y="754"/>
                    <a:pt x="1224" y="772"/>
                  </a:cubicBezTo>
                  <a:lnTo>
                    <a:pt x="1128" y="805"/>
                  </a:lnTo>
                  <a:lnTo>
                    <a:pt x="1120" y="879"/>
                  </a:lnTo>
                  <a:cubicBezTo>
                    <a:pt x="1114" y="927"/>
                    <a:pt x="1091" y="984"/>
                    <a:pt x="1051" y="1044"/>
                  </a:cubicBezTo>
                  <a:cubicBezTo>
                    <a:pt x="1019" y="1092"/>
                    <a:pt x="989" y="1133"/>
                    <a:pt x="984" y="1133"/>
                  </a:cubicBezTo>
                  <a:cubicBezTo>
                    <a:pt x="981" y="1133"/>
                    <a:pt x="947" y="1090"/>
                    <a:pt x="912" y="1036"/>
                  </a:cubicBezTo>
                  <a:close/>
                </a:path>
              </a:pathLst>
            </a:custGeom>
            <a:solidFill>
              <a:srgbClr val="5B93D7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09" name="Республика Тыва">
              <a:extLst>
                <a:ext uri="{FF2B5EF4-FFF2-40B4-BE49-F238E27FC236}">
                  <a16:creationId xmlns="" xmlns:a16="http://schemas.microsoft.com/office/drawing/2014/main" id="{00000000-0008-0000-0300-000074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29483" y="7944715"/>
              <a:ext cx="1404626" cy="801721"/>
            </a:xfrm>
            <a:custGeom>
              <a:avLst/>
              <a:gdLst/>
              <a:ahLst/>
              <a:cxnLst>
                <a:cxn ang="0">
                  <a:pos x="131" y="1362"/>
                </a:cxn>
                <a:cxn ang="0">
                  <a:pos x="146" y="1301"/>
                </a:cxn>
                <a:cxn ang="0">
                  <a:pos x="131" y="1146"/>
                </a:cxn>
                <a:cxn ang="0">
                  <a:pos x="45" y="974"/>
                </a:cxn>
                <a:cxn ang="0">
                  <a:pos x="119" y="859"/>
                </a:cxn>
                <a:cxn ang="0">
                  <a:pos x="253" y="746"/>
                </a:cxn>
                <a:cxn ang="0">
                  <a:pos x="293" y="656"/>
                </a:cxn>
                <a:cxn ang="0">
                  <a:pos x="379" y="682"/>
                </a:cxn>
                <a:cxn ang="0">
                  <a:pos x="579" y="750"/>
                </a:cxn>
                <a:cxn ang="0">
                  <a:pos x="1119" y="499"/>
                </a:cxn>
                <a:cxn ang="0">
                  <a:pos x="1229" y="352"/>
                </a:cxn>
                <a:cxn ang="0">
                  <a:pos x="1283" y="262"/>
                </a:cxn>
                <a:cxn ang="0">
                  <a:pos x="1411" y="166"/>
                </a:cxn>
                <a:cxn ang="0">
                  <a:pos x="1679" y="58"/>
                </a:cxn>
                <a:cxn ang="0">
                  <a:pos x="1931" y="122"/>
                </a:cxn>
                <a:cxn ang="0">
                  <a:pos x="2151" y="200"/>
                </a:cxn>
                <a:cxn ang="0">
                  <a:pos x="2219" y="203"/>
                </a:cxn>
                <a:cxn ang="0">
                  <a:pos x="2207" y="258"/>
                </a:cxn>
                <a:cxn ang="0">
                  <a:pos x="2179" y="506"/>
                </a:cxn>
                <a:cxn ang="0">
                  <a:pos x="2211" y="566"/>
                </a:cxn>
                <a:cxn ang="0">
                  <a:pos x="2099" y="739"/>
                </a:cxn>
                <a:cxn ang="0">
                  <a:pos x="1987" y="907"/>
                </a:cxn>
                <a:cxn ang="0">
                  <a:pos x="2051" y="1078"/>
                </a:cxn>
                <a:cxn ang="0">
                  <a:pos x="2115" y="1258"/>
                </a:cxn>
                <a:cxn ang="0">
                  <a:pos x="2035" y="1315"/>
                </a:cxn>
                <a:cxn ang="0">
                  <a:pos x="1645" y="1355"/>
                </a:cxn>
                <a:cxn ang="0">
                  <a:pos x="1335" y="1355"/>
                </a:cxn>
                <a:cxn ang="0">
                  <a:pos x="1315" y="1274"/>
                </a:cxn>
                <a:cxn ang="0">
                  <a:pos x="1261" y="1173"/>
                </a:cxn>
                <a:cxn ang="0">
                  <a:pos x="1003" y="1115"/>
                </a:cxn>
                <a:cxn ang="0">
                  <a:pos x="779" y="1080"/>
                </a:cxn>
                <a:cxn ang="0">
                  <a:pos x="471" y="1234"/>
                </a:cxn>
                <a:cxn ang="0">
                  <a:pos x="157" y="1387"/>
                </a:cxn>
                <a:cxn ang="0">
                  <a:pos x="131" y="1362"/>
                </a:cxn>
              </a:cxnLst>
              <a:rect l="0" t="0" r="r" b="b"/>
              <a:pathLst>
                <a:path w="2240" h="1387">
                  <a:moveTo>
                    <a:pt x="131" y="1362"/>
                  </a:moveTo>
                  <a:cubicBezTo>
                    <a:pt x="114" y="1342"/>
                    <a:pt x="117" y="1331"/>
                    <a:pt x="146" y="1301"/>
                  </a:cubicBezTo>
                  <a:cubicBezTo>
                    <a:pt x="191" y="1253"/>
                    <a:pt x="189" y="1237"/>
                    <a:pt x="131" y="1146"/>
                  </a:cubicBezTo>
                  <a:cubicBezTo>
                    <a:pt x="106" y="1102"/>
                    <a:pt x="67" y="1026"/>
                    <a:pt x="45" y="974"/>
                  </a:cubicBezTo>
                  <a:cubicBezTo>
                    <a:pt x="0" y="869"/>
                    <a:pt x="7" y="859"/>
                    <a:pt x="119" y="859"/>
                  </a:cubicBezTo>
                  <a:cubicBezTo>
                    <a:pt x="208" y="859"/>
                    <a:pt x="240" y="832"/>
                    <a:pt x="253" y="746"/>
                  </a:cubicBezTo>
                  <a:cubicBezTo>
                    <a:pt x="259" y="712"/>
                    <a:pt x="277" y="672"/>
                    <a:pt x="293" y="656"/>
                  </a:cubicBezTo>
                  <a:cubicBezTo>
                    <a:pt x="323" y="630"/>
                    <a:pt x="327" y="632"/>
                    <a:pt x="379" y="682"/>
                  </a:cubicBezTo>
                  <a:cubicBezTo>
                    <a:pt x="429" y="730"/>
                    <a:pt x="447" y="736"/>
                    <a:pt x="579" y="750"/>
                  </a:cubicBezTo>
                  <a:cubicBezTo>
                    <a:pt x="848" y="781"/>
                    <a:pt x="992" y="714"/>
                    <a:pt x="1119" y="499"/>
                  </a:cubicBezTo>
                  <a:cubicBezTo>
                    <a:pt x="1149" y="446"/>
                    <a:pt x="1199" y="381"/>
                    <a:pt x="1229" y="352"/>
                  </a:cubicBezTo>
                  <a:cubicBezTo>
                    <a:pt x="1263" y="322"/>
                    <a:pt x="1283" y="288"/>
                    <a:pt x="1283" y="262"/>
                  </a:cubicBezTo>
                  <a:cubicBezTo>
                    <a:pt x="1283" y="211"/>
                    <a:pt x="1304" y="197"/>
                    <a:pt x="1411" y="166"/>
                  </a:cubicBezTo>
                  <a:cubicBezTo>
                    <a:pt x="1693" y="86"/>
                    <a:pt x="1687" y="90"/>
                    <a:pt x="1679" y="58"/>
                  </a:cubicBezTo>
                  <a:cubicBezTo>
                    <a:pt x="1664" y="0"/>
                    <a:pt x="1751" y="22"/>
                    <a:pt x="1931" y="122"/>
                  </a:cubicBezTo>
                  <a:cubicBezTo>
                    <a:pt x="2085" y="205"/>
                    <a:pt x="2109" y="214"/>
                    <a:pt x="2151" y="200"/>
                  </a:cubicBezTo>
                  <a:cubicBezTo>
                    <a:pt x="2184" y="187"/>
                    <a:pt x="2203" y="189"/>
                    <a:pt x="2219" y="203"/>
                  </a:cubicBezTo>
                  <a:cubicBezTo>
                    <a:pt x="2240" y="221"/>
                    <a:pt x="2239" y="227"/>
                    <a:pt x="2207" y="258"/>
                  </a:cubicBezTo>
                  <a:cubicBezTo>
                    <a:pt x="2151" y="310"/>
                    <a:pt x="2135" y="445"/>
                    <a:pt x="2179" y="506"/>
                  </a:cubicBezTo>
                  <a:cubicBezTo>
                    <a:pt x="2197" y="531"/>
                    <a:pt x="2211" y="558"/>
                    <a:pt x="2211" y="566"/>
                  </a:cubicBezTo>
                  <a:cubicBezTo>
                    <a:pt x="2211" y="574"/>
                    <a:pt x="2162" y="651"/>
                    <a:pt x="2099" y="739"/>
                  </a:cubicBezTo>
                  <a:cubicBezTo>
                    <a:pt x="2039" y="826"/>
                    <a:pt x="1987" y="901"/>
                    <a:pt x="1987" y="907"/>
                  </a:cubicBezTo>
                  <a:cubicBezTo>
                    <a:pt x="1987" y="912"/>
                    <a:pt x="2016" y="989"/>
                    <a:pt x="2051" y="1078"/>
                  </a:cubicBezTo>
                  <a:cubicBezTo>
                    <a:pt x="2087" y="1168"/>
                    <a:pt x="2115" y="1248"/>
                    <a:pt x="2115" y="1258"/>
                  </a:cubicBezTo>
                  <a:cubicBezTo>
                    <a:pt x="2115" y="1267"/>
                    <a:pt x="2080" y="1293"/>
                    <a:pt x="2035" y="1315"/>
                  </a:cubicBezTo>
                  <a:cubicBezTo>
                    <a:pt x="1959" y="1354"/>
                    <a:pt x="1946" y="1355"/>
                    <a:pt x="1645" y="1355"/>
                  </a:cubicBezTo>
                  <a:lnTo>
                    <a:pt x="1335" y="1355"/>
                  </a:lnTo>
                  <a:lnTo>
                    <a:pt x="1315" y="1274"/>
                  </a:lnTo>
                  <a:cubicBezTo>
                    <a:pt x="1303" y="1222"/>
                    <a:pt x="1283" y="1186"/>
                    <a:pt x="1261" y="1173"/>
                  </a:cubicBezTo>
                  <a:cubicBezTo>
                    <a:pt x="1243" y="1162"/>
                    <a:pt x="1127" y="1136"/>
                    <a:pt x="1003" y="1115"/>
                  </a:cubicBezTo>
                  <a:lnTo>
                    <a:pt x="779" y="1080"/>
                  </a:lnTo>
                  <a:lnTo>
                    <a:pt x="471" y="1234"/>
                  </a:lnTo>
                  <a:cubicBezTo>
                    <a:pt x="301" y="1318"/>
                    <a:pt x="160" y="1387"/>
                    <a:pt x="157" y="1387"/>
                  </a:cubicBezTo>
                  <a:cubicBezTo>
                    <a:pt x="154" y="1387"/>
                    <a:pt x="143" y="1376"/>
                    <a:pt x="131" y="1362"/>
                  </a:cubicBezTo>
                  <a:close/>
                </a:path>
              </a:pathLst>
            </a:custGeom>
            <a:solidFill>
              <a:srgbClr val="E1EFF6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10" name="Республика Хакасия">
              <a:extLst>
                <a:ext uri="{FF2B5EF4-FFF2-40B4-BE49-F238E27FC236}">
                  <a16:creationId xmlns="" xmlns:a16="http://schemas.microsoft.com/office/drawing/2014/main" id="{00000000-0008-0000-0300-000075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89020" y="7640615"/>
              <a:ext cx="541784" cy="829365"/>
            </a:xfrm>
            <a:custGeom>
              <a:avLst/>
              <a:gdLst>
                <a:gd name="T0" fmla="*/ 49 w 54"/>
                <a:gd name="T1" fmla="*/ 1420 h 90"/>
                <a:gd name="T2" fmla="*/ 5 w 54"/>
                <a:gd name="T3" fmla="*/ 1326 h 90"/>
                <a:gd name="T4" fmla="*/ 43 w 54"/>
                <a:gd name="T5" fmla="*/ 1222 h 90"/>
                <a:gd name="T6" fmla="*/ 289 w 54"/>
                <a:gd name="T7" fmla="*/ 966 h 90"/>
                <a:gd name="T8" fmla="*/ 265 w 54"/>
                <a:gd name="T9" fmla="*/ 841 h 90"/>
                <a:gd name="T10" fmla="*/ 283 w 54"/>
                <a:gd name="T11" fmla="*/ 612 h 90"/>
                <a:gd name="T12" fmla="*/ 301 w 54"/>
                <a:gd name="T13" fmla="*/ 496 h 90"/>
                <a:gd name="T14" fmla="*/ 294 w 54"/>
                <a:gd name="T15" fmla="*/ 377 h 90"/>
                <a:gd name="T16" fmla="*/ 240 w 54"/>
                <a:gd name="T17" fmla="*/ 320 h 90"/>
                <a:gd name="T18" fmla="*/ 182 w 54"/>
                <a:gd name="T19" fmla="*/ 331 h 90"/>
                <a:gd name="T20" fmla="*/ 205 w 54"/>
                <a:gd name="T21" fmla="*/ 252 h 90"/>
                <a:gd name="T22" fmla="*/ 195 w 54"/>
                <a:gd name="T23" fmla="*/ 113 h 90"/>
                <a:gd name="T24" fmla="*/ 189 w 54"/>
                <a:gd name="T25" fmla="*/ 1 h 90"/>
                <a:gd name="T26" fmla="*/ 246 w 54"/>
                <a:gd name="T27" fmla="*/ 73 h 90"/>
                <a:gd name="T28" fmla="*/ 497 w 54"/>
                <a:gd name="T29" fmla="*/ 121 h 90"/>
                <a:gd name="T30" fmla="*/ 614 w 54"/>
                <a:gd name="T31" fmla="*/ 112 h 90"/>
                <a:gd name="T32" fmla="*/ 643 w 54"/>
                <a:gd name="T33" fmla="*/ 195 h 90"/>
                <a:gd name="T34" fmla="*/ 761 w 54"/>
                <a:gd name="T35" fmla="*/ 467 h 90"/>
                <a:gd name="T36" fmla="*/ 865 w 54"/>
                <a:gd name="T37" fmla="*/ 691 h 90"/>
                <a:gd name="T38" fmla="*/ 813 w 54"/>
                <a:gd name="T39" fmla="*/ 768 h 90"/>
                <a:gd name="T40" fmla="*/ 739 w 54"/>
                <a:gd name="T41" fmla="*/ 892 h 90"/>
                <a:gd name="T42" fmla="*/ 585 w 54"/>
                <a:gd name="T43" fmla="*/ 1073 h 90"/>
                <a:gd name="T44" fmla="*/ 440 w 54"/>
                <a:gd name="T45" fmla="*/ 1230 h 90"/>
                <a:gd name="T46" fmla="*/ 294 w 54"/>
                <a:gd name="T47" fmla="*/ 1353 h 90"/>
                <a:gd name="T48" fmla="*/ 133 w 54"/>
                <a:gd name="T49" fmla="*/ 1406 h 90"/>
                <a:gd name="T50" fmla="*/ 49 w 54"/>
                <a:gd name="T51" fmla="*/ 1420 h 9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4"/>
                <a:gd name="T79" fmla="*/ 0 h 90"/>
                <a:gd name="T80" fmla="*/ 865 w 54"/>
                <a:gd name="T81" fmla="*/ 1446 h 9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4" h="90">
                  <a:moveTo>
                    <a:pt x="3" y="88"/>
                  </a:moveTo>
                  <a:cubicBezTo>
                    <a:pt x="1" y="87"/>
                    <a:pt x="1" y="86"/>
                    <a:pt x="0" y="83"/>
                  </a:cubicBezTo>
                  <a:cubicBezTo>
                    <a:pt x="0" y="78"/>
                    <a:pt x="0" y="78"/>
                    <a:pt x="3" y="76"/>
                  </a:cubicBezTo>
                  <a:cubicBezTo>
                    <a:pt x="8" y="73"/>
                    <a:pt x="18" y="62"/>
                    <a:pt x="18" y="60"/>
                  </a:cubicBezTo>
                  <a:cubicBezTo>
                    <a:pt x="18" y="59"/>
                    <a:pt x="17" y="56"/>
                    <a:pt x="17" y="52"/>
                  </a:cubicBezTo>
                  <a:cubicBezTo>
                    <a:pt x="15" y="44"/>
                    <a:pt x="15" y="42"/>
                    <a:pt x="18" y="38"/>
                  </a:cubicBezTo>
                  <a:cubicBezTo>
                    <a:pt x="20" y="35"/>
                    <a:pt x="20" y="35"/>
                    <a:pt x="19" y="31"/>
                  </a:cubicBezTo>
                  <a:cubicBezTo>
                    <a:pt x="18" y="28"/>
                    <a:pt x="17" y="26"/>
                    <a:pt x="18" y="23"/>
                  </a:cubicBezTo>
                  <a:cubicBezTo>
                    <a:pt x="20" y="19"/>
                    <a:pt x="19" y="18"/>
                    <a:pt x="15" y="20"/>
                  </a:cubicBezTo>
                  <a:cubicBezTo>
                    <a:pt x="13" y="20"/>
                    <a:pt x="12" y="21"/>
                    <a:pt x="11" y="21"/>
                  </a:cubicBezTo>
                  <a:cubicBezTo>
                    <a:pt x="11" y="20"/>
                    <a:pt x="12" y="18"/>
                    <a:pt x="13" y="16"/>
                  </a:cubicBezTo>
                  <a:cubicBezTo>
                    <a:pt x="14" y="11"/>
                    <a:pt x="14" y="11"/>
                    <a:pt x="12" y="7"/>
                  </a:cubicBezTo>
                  <a:cubicBezTo>
                    <a:pt x="10" y="3"/>
                    <a:pt x="10" y="0"/>
                    <a:pt x="12" y="0"/>
                  </a:cubicBezTo>
                  <a:cubicBezTo>
                    <a:pt x="12" y="0"/>
                    <a:pt x="14" y="2"/>
                    <a:pt x="15" y="5"/>
                  </a:cubicBezTo>
                  <a:cubicBezTo>
                    <a:pt x="19" y="10"/>
                    <a:pt x="20" y="10"/>
                    <a:pt x="31" y="8"/>
                  </a:cubicBezTo>
                  <a:cubicBezTo>
                    <a:pt x="35" y="7"/>
                    <a:pt x="38" y="7"/>
                    <a:pt x="38" y="7"/>
                  </a:cubicBezTo>
                  <a:cubicBezTo>
                    <a:pt x="39" y="7"/>
                    <a:pt x="40" y="10"/>
                    <a:pt x="40" y="12"/>
                  </a:cubicBezTo>
                  <a:cubicBezTo>
                    <a:pt x="41" y="15"/>
                    <a:pt x="44" y="22"/>
                    <a:pt x="48" y="29"/>
                  </a:cubicBezTo>
                  <a:cubicBezTo>
                    <a:pt x="51" y="36"/>
                    <a:pt x="54" y="42"/>
                    <a:pt x="54" y="43"/>
                  </a:cubicBezTo>
                  <a:cubicBezTo>
                    <a:pt x="54" y="44"/>
                    <a:pt x="53" y="46"/>
                    <a:pt x="51" y="48"/>
                  </a:cubicBezTo>
                  <a:cubicBezTo>
                    <a:pt x="49" y="50"/>
                    <a:pt x="47" y="53"/>
                    <a:pt x="46" y="56"/>
                  </a:cubicBezTo>
                  <a:cubicBezTo>
                    <a:pt x="45" y="59"/>
                    <a:pt x="43" y="61"/>
                    <a:pt x="37" y="67"/>
                  </a:cubicBezTo>
                  <a:cubicBezTo>
                    <a:pt x="31" y="71"/>
                    <a:pt x="28" y="75"/>
                    <a:pt x="27" y="77"/>
                  </a:cubicBezTo>
                  <a:cubicBezTo>
                    <a:pt x="26" y="83"/>
                    <a:pt x="26" y="84"/>
                    <a:pt x="18" y="84"/>
                  </a:cubicBezTo>
                  <a:cubicBezTo>
                    <a:pt x="9" y="85"/>
                    <a:pt x="8" y="86"/>
                    <a:pt x="8" y="88"/>
                  </a:cubicBezTo>
                  <a:cubicBezTo>
                    <a:pt x="9" y="90"/>
                    <a:pt x="6" y="90"/>
                    <a:pt x="3" y="88"/>
                  </a:cubicBezTo>
                  <a:cubicBezTo>
                    <a:pt x="3" y="88"/>
                    <a:pt x="3" y="88"/>
                    <a:pt x="3" y="88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11" name="Ростовская область">
              <a:extLst>
                <a:ext uri="{FF2B5EF4-FFF2-40B4-BE49-F238E27FC236}">
                  <a16:creationId xmlns="" xmlns:a16="http://schemas.microsoft.com/office/drawing/2014/main" id="{00000000-0008-0000-0300-000076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560" y="6507148"/>
              <a:ext cx="812676" cy="857011"/>
            </a:xfrm>
            <a:custGeom>
              <a:avLst/>
              <a:gdLst/>
              <a:ahLst/>
              <a:cxnLst>
                <a:cxn ang="0">
                  <a:pos x="826" y="1470"/>
                </a:cxn>
                <a:cxn ang="0">
                  <a:pos x="738" y="1400"/>
                </a:cxn>
                <a:cxn ang="0">
                  <a:pos x="600" y="1152"/>
                </a:cxn>
                <a:cxn ang="0">
                  <a:pos x="544" y="1186"/>
                </a:cxn>
                <a:cxn ang="0">
                  <a:pos x="405" y="1224"/>
                </a:cxn>
                <a:cxn ang="0">
                  <a:pos x="298" y="1219"/>
                </a:cxn>
                <a:cxn ang="0">
                  <a:pos x="290" y="1155"/>
                </a:cxn>
                <a:cxn ang="0">
                  <a:pos x="228" y="1013"/>
                </a:cxn>
                <a:cxn ang="0">
                  <a:pos x="175" y="934"/>
                </a:cxn>
                <a:cxn ang="0">
                  <a:pos x="202" y="851"/>
                </a:cxn>
                <a:cxn ang="0">
                  <a:pos x="231" y="766"/>
                </a:cxn>
                <a:cxn ang="0">
                  <a:pos x="172" y="693"/>
                </a:cxn>
                <a:cxn ang="0">
                  <a:pos x="37" y="618"/>
                </a:cxn>
                <a:cxn ang="0">
                  <a:pos x="5" y="592"/>
                </a:cxn>
                <a:cxn ang="0">
                  <a:pos x="85" y="563"/>
                </a:cxn>
                <a:cxn ang="0">
                  <a:pos x="181" y="541"/>
                </a:cxn>
                <a:cxn ang="0">
                  <a:pos x="74" y="416"/>
                </a:cxn>
                <a:cxn ang="0">
                  <a:pos x="56" y="349"/>
                </a:cxn>
                <a:cxn ang="0">
                  <a:pos x="157" y="315"/>
                </a:cxn>
                <a:cxn ang="0">
                  <a:pos x="325" y="405"/>
                </a:cxn>
                <a:cxn ang="0">
                  <a:pos x="423" y="496"/>
                </a:cxn>
                <a:cxn ang="0">
                  <a:pos x="472" y="440"/>
                </a:cxn>
                <a:cxn ang="0">
                  <a:pos x="578" y="307"/>
                </a:cxn>
                <a:cxn ang="0">
                  <a:pos x="698" y="211"/>
                </a:cxn>
                <a:cxn ang="0">
                  <a:pos x="850" y="94"/>
                </a:cxn>
                <a:cxn ang="0">
                  <a:pos x="981" y="58"/>
                </a:cxn>
                <a:cxn ang="0">
                  <a:pos x="1122" y="99"/>
                </a:cxn>
                <a:cxn ang="0">
                  <a:pos x="1264" y="184"/>
                </a:cxn>
                <a:cxn ang="0">
                  <a:pos x="1178" y="373"/>
                </a:cxn>
                <a:cxn ang="0">
                  <a:pos x="1183" y="464"/>
                </a:cxn>
                <a:cxn ang="0">
                  <a:pos x="1192" y="592"/>
                </a:cxn>
                <a:cxn ang="0">
                  <a:pos x="1087" y="651"/>
                </a:cxn>
                <a:cxn ang="0">
                  <a:pos x="914" y="715"/>
                </a:cxn>
                <a:cxn ang="0">
                  <a:pos x="940" y="781"/>
                </a:cxn>
                <a:cxn ang="0">
                  <a:pos x="948" y="901"/>
                </a:cxn>
                <a:cxn ang="0">
                  <a:pos x="1010" y="1131"/>
                </a:cxn>
                <a:cxn ang="0">
                  <a:pos x="1045" y="1210"/>
                </a:cxn>
                <a:cxn ang="0">
                  <a:pos x="1106" y="1259"/>
                </a:cxn>
                <a:cxn ang="0">
                  <a:pos x="1172" y="1259"/>
                </a:cxn>
                <a:cxn ang="0">
                  <a:pos x="1135" y="1325"/>
                </a:cxn>
                <a:cxn ang="0">
                  <a:pos x="1023" y="1381"/>
                </a:cxn>
                <a:cxn ang="0">
                  <a:pos x="922" y="1419"/>
                </a:cxn>
                <a:cxn ang="0">
                  <a:pos x="826" y="1470"/>
                </a:cxn>
              </a:cxnLst>
              <a:rect l="0" t="0" r="r" b="b"/>
              <a:pathLst>
                <a:path w="1293" h="1477">
                  <a:moveTo>
                    <a:pt x="826" y="1470"/>
                  </a:moveTo>
                  <a:cubicBezTo>
                    <a:pt x="767" y="1462"/>
                    <a:pt x="738" y="1440"/>
                    <a:pt x="738" y="1400"/>
                  </a:cubicBezTo>
                  <a:cubicBezTo>
                    <a:pt x="738" y="1358"/>
                    <a:pt x="629" y="1163"/>
                    <a:pt x="600" y="1152"/>
                  </a:cubicBezTo>
                  <a:cubicBezTo>
                    <a:pt x="588" y="1147"/>
                    <a:pt x="562" y="1162"/>
                    <a:pt x="544" y="1186"/>
                  </a:cubicBezTo>
                  <a:cubicBezTo>
                    <a:pt x="512" y="1226"/>
                    <a:pt x="503" y="1227"/>
                    <a:pt x="405" y="1224"/>
                  </a:cubicBezTo>
                  <a:lnTo>
                    <a:pt x="298" y="1219"/>
                  </a:lnTo>
                  <a:lnTo>
                    <a:pt x="290" y="1155"/>
                  </a:lnTo>
                  <a:cubicBezTo>
                    <a:pt x="285" y="1120"/>
                    <a:pt x="256" y="1056"/>
                    <a:pt x="228" y="1013"/>
                  </a:cubicBezTo>
                  <a:lnTo>
                    <a:pt x="175" y="934"/>
                  </a:lnTo>
                  <a:lnTo>
                    <a:pt x="202" y="851"/>
                  </a:lnTo>
                  <a:lnTo>
                    <a:pt x="231" y="766"/>
                  </a:lnTo>
                  <a:lnTo>
                    <a:pt x="172" y="693"/>
                  </a:lnTo>
                  <a:cubicBezTo>
                    <a:pt x="109" y="618"/>
                    <a:pt x="101" y="613"/>
                    <a:pt x="37" y="618"/>
                  </a:cubicBezTo>
                  <a:cubicBezTo>
                    <a:pt x="8" y="621"/>
                    <a:pt x="0" y="614"/>
                    <a:pt x="5" y="592"/>
                  </a:cubicBezTo>
                  <a:cubicBezTo>
                    <a:pt x="10" y="568"/>
                    <a:pt x="26" y="563"/>
                    <a:pt x="85" y="563"/>
                  </a:cubicBezTo>
                  <a:cubicBezTo>
                    <a:pt x="127" y="563"/>
                    <a:pt x="170" y="554"/>
                    <a:pt x="181" y="541"/>
                  </a:cubicBezTo>
                  <a:cubicBezTo>
                    <a:pt x="204" y="518"/>
                    <a:pt x="183" y="496"/>
                    <a:pt x="74" y="416"/>
                  </a:cubicBezTo>
                  <a:cubicBezTo>
                    <a:pt x="28" y="382"/>
                    <a:pt x="28" y="381"/>
                    <a:pt x="56" y="349"/>
                  </a:cubicBezTo>
                  <a:cubicBezTo>
                    <a:pt x="79" y="323"/>
                    <a:pt x="106" y="315"/>
                    <a:pt x="157" y="315"/>
                  </a:cubicBezTo>
                  <a:cubicBezTo>
                    <a:pt x="220" y="315"/>
                    <a:pt x="237" y="325"/>
                    <a:pt x="325" y="405"/>
                  </a:cubicBezTo>
                  <a:lnTo>
                    <a:pt x="423" y="496"/>
                  </a:lnTo>
                  <a:lnTo>
                    <a:pt x="472" y="440"/>
                  </a:lnTo>
                  <a:cubicBezTo>
                    <a:pt x="500" y="410"/>
                    <a:pt x="548" y="349"/>
                    <a:pt x="578" y="307"/>
                  </a:cubicBezTo>
                  <a:cubicBezTo>
                    <a:pt x="620" y="250"/>
                    <a:pt x="650" y="224"/>
                    <a:pt x="698" y="211"/>
                  </a:cubicBezTo>
                  <a:cubicBezTo>
                    <a:pt x="800" y="181"/>
                    <a:pt x="831" y="158"/>
                    <a:pt x="850" y="94"/>
                  </a:cubicBezTo>
                  <a:cubicBezTo>
                    <a:pt x="880" y="3"/>
                    <a:pt x="890" y="0"/>
                    <a:pt x="981" y="58"/>
                  </a:cubicBezTo>
                  <a:cubicBezTo>
                    <a:pt x="1052" y="101"/>
                    <a:pt x="1074" y="107"/>
                    <a:pt x="1122" y="99"/>
                  </a:cubicBezTo>
                  <a:cubicBezTo>
                    <a:pt x="1242" y="75"/>
                    <a:pt x="1239" y="74"/>
                    <a:pt x="1264" y="184"/>
                  </a:cubicBezTo>
                  <a:cubicBezTo>
                    <a:pt x="1292" y="296"/>
                    <a:pt x="1293" y="293"/>
                    <a:pt x="1178" y="373"/>
                  </a:cubicBezTo>
                  <a:cubicBezTo>
                    <a:pt x="1146" y="395"/>
                    <a:pt x="1146" y="395"/>
                    <a:pt x="1183" y="464"/>
                  </a:cubicBezTo>
                  <a:cubicBezTo>
                    <a:pt x="1220" y="533"/>
                    <a:pt x="1220" y="534"/>
                    <a:pt x="1192" y="592"/>
                  </a:cubicBezTo>
                  <a:cubicBezTo>
                    <a:pt x="1165" y="648"/>
                    <a:pt x="1160" y="651"/>
                    <a:pt x="1087" y="651"/>
                  </a:cubicBezTo>
                  <a:cubicBezTo>
                    <a:pt x="1007" y="651"/>
                    <a:pt x="914" y="686"/>
                    <a:pt x="914" y="715"/>
                  </a:cubicBezTo>
                  <a:cubicBezTo>
                    <a:pt x="914" y="725"/>
                    <a:pt x="925" y="755"/>
                    <a:pt x="940" y="781"/>
                  </a:cubicBezTo>
                  <a:cubicBezTo>
                    <a:pt x="960" y="822"/>
                    <a:pt x="962" y="843"/>
                    <a:pt x="948" y="901"/>
                  </a:cubicBezTo>
                  <a:cubicBezTo>
                    <a:pt x="924" y="992"/>
                    <a:pt x="951" y="1088"/>
                    <a:pt x="1010" y="1131"/>
                  </a:cubicBezTo>
                  <a:cubicBezTo>
                    <a:pt x="1044" y="1155"/>
                    <a:pt x="1052" y="1171"/>
                    <a:pt x="1045" y="1210"/>
                  </a:cubicBezTo>
                  <a:cubicBezTo>
                    <a:pt x="1039" y="1258"/>
                    <a:pt x="1040" y="1259"/>
                    <a:pt x="1106" y="1259"/>
                  </a:cubicBezTo>
                  <a:lnTo>
                    <a:pt x="1172" y="1259"/>
                  </a:lnTo>
                  <a:lnTo>
                    <a:pt x="1135" y="1325"/>
                  </a:lnTo>
                  <a:cubicBezTo>
                    <a:pt x="1098" y="1390"/>
                    <a:pt x="1098" y="1390"/>
                    <a:pt x="1023" y="1381"/>
                  </a:cubicBezTo>
                  <a:cubicBezTo>
                    <a:pt x="951" y="1373"/>
                    <a:pt x="944" y="1374"/>
                    <a:pt x="922" y="1419"/>
                  </a:cubicBezTo>
                  <a:cubicBezTo>
                    <a:pt x="893" y="1474"/>
                    <a:pt x="887" y="1477"/>
                    <a:pt x="826" y="1470"/>
                  </a:cubicBezTo>
                  <a:close/>
                </a:path>
              </a:pathLst>
            </a:custGeom>
            <a:solidFill>
              <a:srgbClr val="22528C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12" name="Рязанская область">
              <a:extLst>
                <a:ext uri="{FF2B5EF4-FFF2-40B4-BE49-F238E27FC236}">
                  <a16:creationId xmlns="" xmlns:a16="http://schemas.microsoft.com/office/drawing/2014/main" id="{00000000-0008-0000-0300-000077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9029" y="5622492"/>
              <a:ext cx="551817" cy="368607"/>
            </a:xfrm>
            <a:custGeom>
              <a:avLst/>
              <a:gdLst/>
              <a:ahLst/>
              <a:cxnLst>
                <a:cxn ang="0">
                  <a:pos x="557" y="587"/>
                </a:cxn>
                <a:cxn ang="0">
                  <a:pos x="432" y="557"/>
                </a:cxn>
                <a:cxn ang="0">
                  <a:pos x="350" y="560"/>
                </a:cxn>
                <a:cxn ang="0">
                  <a:pos x="246" y="496"/>
                </a:cxn>
                <a:cxn ang="0">
                  <a:pos x="85" y="376"/>
                </a:cxn>
                <a:cxn ang="0">
                  <a:pos x="35" y="250"/>
                </a:cxn>
                <a:cxn ang="0">
                  <a:pos x="99" y="160"/>
                </a:cxn>
                <a:cxn ang="0">
                  <a:pos x="176" y="72"/>
                </a:cxn>
                <a:cxn ang="0">
                  <a:pos x="581" y="0"/>
                </a:cxn>
                <a:cxn ang="0">
                  <a:pos x="833" y="291"/>
                </a:cxn>
                <a:cxn ang="0">
                  <a:pos x="880" y="368"/>
                </a:cxn>
                <a:cxn ang="0">
                  <a:pos x="761" y="493"/>
                </a:cxn>
                <a:cxn ang="0">
                  <a:pos x="624" y="629"/>
                </a:cxn>
                <a:cxn ang="0">
                  <a:pos x="557" y="587"/>
                </a:cxn>
              </a:cxnLst>
              <a:rect l="0" t="0" r="r" b="b"/>
              <a:pathLst>
                <a:path w="880" h="634">
                  <a:moveTo>
                    <a:pt x="557" y="587"/>
                  </a:moveTo>
                  <a:cubicBezTo>
                    <a:pt x="507" y="538"/>
                    <a:pt x="505" y="538"/>
                    <a:pt x="432" y="557"/>
                  </a:cubicBezTo>
                  <a:cubicBezTo>
                    <a:pt x="379" y="571"/>
                    <a:pt x="353" y="573"/>
                    <a:pt x="350" y="560"/>
                  </a:cubicBezTo>
                  <a:cubicBezTo>
                    <a:pt x="337" y="523"/>
                    <a:pt x="294" y="496"/>
                    <a:pt x="246" y="496"/>
                  </a:cubicBezTo>
                  <a:cubicBezTo>
                    <a:pt x="181" y="495"/>
                    <a:pt x="173" y="490"/>
                    <a:pt x="85" y="376"/>
                  </a:cubicBezTo>
                  <a:cubicBezTo>
                    <a:pt x="5" y="272"/>
                    <a:pt x="0" y="263"/>
                    <a:pt x="35" y="250"/>
                  </a:cubicBezTo>
                  <a:cubicBezTo>
                    <a:pt x="48" y="245"/>
                    <a:pt x="77" y="205"/>
                    <a:pt x="99" y="160"/>
                  </a:cubicBezTo>
                  <a:cubicBezTo>
                    <a:pt x="125" y="109"/>
                    <a:pt x="152" y="77"/>
                    <a:pt x="176" y="72"/>
                  </a:cubicBezTo>
                  <a:cubicBezTo>
                    <a:pt x="261" y="51"/>
                    <a:pt x="550" y="0"/>
                    <a:pt x="581" y="0"/>
                  </a:cubicBezTo>
                  <a:cubicBezTo>
                    <a:pt x="614" y="0"/>
                    <a:pt x="744" y="149"/>
                    <a:pt x="833" y="291"/>
                  </a:cubicBezTo>
                  <a:lnTo>
                    <a:pt x="880" y="368"/>
                  </a:lnTo>
                  <a:lnTo>
                    <a:pt x="761" y="493"/>
                  </a:lnTo>
                  <a:cubicBezTo>
                    <a:pt x="696" y="563"/>
                    <a:pt x="635" y="623"/>
                    <a:pt x="624" y="629"/>
                  </a:cubicBezTo>
                  <a:cubicBezTo>
                    <a:pt x="614" y="634"/>
                    <a:pt x="584" y="615"/>
                    <a:pt x="557" y="587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13" name="Самарская область">
              <a:extLst>
                <a:ext uri="{FF2B5EF4-FFF2-40B4-BE49-F238E27FC236}">
                  <a16:creationId xmlns="" xmlns:a16="http://schemas.microsoft.com/office/drawing/2014/main" id="{00000000-0008-0000-0300-000078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2036" y="6497933"/>
              <a:ext cx="632082" cy="479189"/>
            </a:xfrm>
            <a:custGeom>
              <a:avLst/>
              <a:gdLst/>
              <a:ahLst/>
              <a:cxnLst>
                <a:cxn ang="0">
                  <a:pos x="212" y="717"/>
                </a:cxn>
                <a:cxn ang="0">
                  <a:pos x="13" y="307"/>
                </a:cxn>
                <a:cxn ang="0">
                  <a:pos x="34" y="277"/>
                </a:cxn>
                <a:cxn ang="0">
                  <a:pos x="58" y="155"/>
                </a:cxn>
                <a:cxn ang="0">
                  <a:pos x="204" y="16"/>
                </a:cxn>
                <a:cxn ang="0">
                  <a:pos x="402" y="80"/>
                </a:cxn>
                <a:cxn ang="0">
                  <a:pos x="495" y="144"/>
                </a:cxn>
                <a:cxn ang="0">
                  <a:pos x="584" y="72"/>
                </a:cxn>
                <a:cxn ang="0">
                  <a:pos x="669" y="0"/>
                </a:cxn>
                <a:cxn ang="0">
                  <a:pos x="704" y="48"/>
                </a:cxn>
                <a:cxn ang="0">
                  <a:pos x="810" y="64"/>
                </a:cxn>
                <a:cxn ang="0">
                  <a:pos x="917" y="69"/>
                </a:cxn>
                <a:cxn ang="0">
                  <a:pos x="978" y="203"/>
                </a:cxn>
                <a:cxn ang="0">
                  <a:pos x="999" y="303"/>
                </a:cxn>
                <a:cxn ang="0">
                  <a:pos x="880" y="435"/>
                </a:cxn>
                <a:cxn ang="0">
                  <a:pos x="626" y="635"/>
                </a:cxn>
                <a:cxn ang="0">
                  <a:pos x="456" y="747"/>
                </a:cxn>
                <a:cxn ang="0">
                  <a:pos x="352" y="816"/>
                </a:cxn>
                <a:cxn ang="0">
                  <a:pos x="282" y="824"/>
                </a:cxn>
                <a:cxn ang="0">
                  <a:pos x="212" y="717"/>
                </a:cxn>
              </a:cxnLst>
              <a:rect l="0" t="0" r="r" b="b"/>
              <a:pathLst>
                <a:path w="999" h="832">
                  <a:moveTo>
                    <a:pt x="212" y="717"/>
                  </a:moveTo>
                  <a:cubicBezTo>
                    <a:pt x="180" y="613"/>
                    <a:pt x="58" y="363"/>
                    <a:pt x="13" y="307"/>
                  </a:cubicBezTo>
                  <a:cubicBezTo>
                    <a:pt x="0" y="291"/>
                    <a:pt x="7" y="283"/>
                    <a:pt x="34" y="277"/>
                  </a:cubicBezTo>
                  <a:cubicBezTo>
                    <a:pt x="68" y="267"/>
                    <a:pt x="69" y="263"/>
                    <a:pt x="58" y="155"/>
                  </a:cubicBezTo>
                  <a:cubicBezTo>
                    <a:pt x="45" y="19"/>
                    <a:pt x="48" y="16"/>
                    <a:pt x="204" y="16"/>
                  </a:cubicBezTo>
                  <a:cubicBezTo>
                    <a:pt x="311" y="16"/>
                    <a:pt x="320" y="19"/>
                    <a:pt x="402" y="80"/>
                  </a:cubicBezTo>
                  <a:cubicBezTo>
                    <a:pt x="450" y="115"/>
                    <a:pt x="492" y="144"/>
                    <a:pt x="495" y="144"/>
                  </a:cubicBezTo>
                  <a:cubicBezTo>
                    <a:pt x="498" y="144"/>
                    <a:pt x="538" y="112"/>
                    <a:pt x="584" y="72"/>
                  </a:cubicBezTo>
                  <a:lnTo>
                    <a:pt x="669" y="0"/>
                  </a:lnTo>
                  <a:lnTo>
                    <a:pt x="704" y="48"/>
                  </a:lnTo>
                  <a:cubicBezTo>
                    <a:pt x="744" y="104"/>
                    <a:pt x="770" y="107"/>
                    <a:pt x="810" y="64"/>
                  </a:cubicBezTo>
                  <a:cubicBezTo>
                    <a:pt x="847" y="23"/>
                    <a:pt x="869" y="23"/>
                    <a:pt x="917" y="69"/>
                  </a:cubicBezTo>
                  <a:cubicBezTo>
                    <a:pt x="943" y="93"/>
                    <a:pt x="964" y="138"/>
                    <a:pt x="978" y="203"/>
                  </a:cubicBezTo>
                  <a:lnTo>
                    <a:pt x="999" y="303"/>
                  </a:lnTo>
                  <a:lnTo>
                    <a:pt x="880" y="435"/>
                  </a:lnTo>
                  <a:cubicBezTo>
                    <a:pt x="740" y="592"/>
                    <a:pt x="756" y="579"/>
                    <a:pt x="626" y="635"/>
                  </a:cubicBezTo>
                  <a:cubicBezTo>
                    <a:pt x="562" y="663"/>
                    <a:pt x="496" y="706"/>
                    <a:pt x="456" y="747"/>
                  </a:cubicBezTo>
                  <a:cubicBezTo>
                    <a:pt x="415" y="789"/>
                    <a:pt x="375" y="816"/>
                    <a:pt x="352" y="816"/>
                  </a:cubicBezTo>
                  <a:cubicBezTo>
                    <a:pt x="332" y="816"/>
                    <a:pt x="300" y="819"/>
                    <a:pt x="282" y="824"/>
                  </a:cubicBezTo>
                  <a:cubicBezTo>
                    <a:pt x="253" y="832"/>
                    <a:pt x="244" y="819"/>
                    <a:pt x="212" y="717"/>
                  </a:cubicBezTo>
                  <a:close/>
                </a:path>
              </a:pathLst>
            </a:custGeom>
            <a:solidFill>
              <a:srgbClr val="3072C2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14" name="г. Санкт-Петербург">
              <a:extLst>
                <a:ext uri="{FF2B5EF4-FFF2-40B4-BE49-F238E27FC236}">
                  <a16:creationId xmlns="" xmlns:a16="http://schemas.microsoft.com/office/drawing/2014/main" id="{00000000-0008-0000-0300-000079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9690" y="4065126"/>
              <a:ext cx="190628" cy="110582"/>
            </a:xfrm>
            <a:custGeom>
              <a:avLst/>
              <a:gdLst/>
              <a:ahLst/>
              <a:cxnLst>
                <a:cxn ang="0">
                  <a:pos x="29" y="179"/>
                </a:cxn>
                <a:cxn ang="0">
                  <a:pos x="7" y="48"/>
                </a:cxn>
                <a:cxn ang="0">
                  <a:pos x="74" y="72"/>
                </a:cxn>
                <a:cxn ang="0">
                  <a:pos x="175" y="40"/>
                </a:cxn>
                <a:cxn ang="0">
                  <a:pos x="181" y="0"/>
                </a:cxn>
                <a:cxn ang="0">
                  <a:pos x="288" y="59"/>
                </a:cxn>
                <a:cxn ang="0">
                  <a:pos x="266" y="128"/>
                </a:cxn>
                <a:cxn ang="0">
                  <a:pos x="237" y="192"/>
                </a:cxn>
                <a:cxn ang="0">
                  <a:pos x="136" y="192"/>
                </a:cxn>
                <a:cxn ang="0">
                  <a:pos x="29" y="179"/>
                </a:cxn>
              </a:cxnLst>
              <a:rect l="0" t="0" r="r" b="b"/>
              <a:pathLst>
                <a:path w="292" h="192">
                  <a:moveTo>
                    <a:pt x="29" y="179"/>
                  </a:moveTo>
                  <a:cubicBezTo>
                    <a:pt x="18" y="162"/>
                    <a:pt x="0" y="48"/>
                    <a:pt x="7" y="48"/>
                  </a:cubicBezTo>
                  <a:cubicBezTo>
                    <a:pt x="12" y="48"/>
                    <a:pt x="40" y="59"/>
                    <a:pt x="74" y="72"/>
                  </a:cubicBezTo>
                  <a:cubicBezTo>
                    <a:pt x="149" y="104"/>
                    <a:pt x="184" y="93"/>
                    <a:pt x="175" y="40"/>
                  </a:cubicBezTo>
                  <a:cubicBezTo>
                    <a:pt x="170" y="18"/>
                    <a:pt x="173" y="0"/>
                    <a:pt x="181" y="0"/>
                  </a:cubicBezTo>
                  <a:cubicBezTo>
                    <a:pt x="192" y="0"/>
                    <a:pt x="252" y="32"/>
                    <a:pt x="288" y="59"/>
                  </a:cubicBezTo>
                  <a:cubicBezTo>
                    <a:pt x="292" y="61"/>
                    <a:pt x="282" y="93"/>
                    <a:pt x="266" y="128"/>
                  </a:cubicBezTo>
                  <a:lnTo>
                    <a:pt x="237" y="192"/>
                  </a:lnTo>
                  <a:lnTo>
                    <a:pt x="136" y="192"/>
                  </a:lnTo>
                  <a:cubicBezTo>
                    <a:pt x="82" y="192"/>
                    <a:pt x="32" y="186"/>
                    <a:pt x="29" y="179"/>
                  </a:cubicBezTo>
                  <a:close/>
                </a:path>
              </a:pathLst>
            </a:custGeom>
            <a:solidFill>
              <a:srgbClr val="22528C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15" name="Саратовская область">
              <a:extLst>
                <a:ext uri="{FF2B5EF4-FFF2-40B4-BE49-F238E27FC236}">
                  <a16:creationId xmlns="" xmlns:a16="http://schemas.microsoft.com/office/drawing/2014/main" id="{00000000-0008-0000-0300-00007A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9327" y="6313630"/>
              <a:ext cx="973205" cy="838581"/>
            </a:xfrm>
            <a:custGeom>
              <a:avLst/>
              <a:gdLst/>
              <a:ahLst/>
              <a:cxnLst>
                <a:cxn ang="0">
                  <a:pos x="741" y="1413"/>
                </a:cxn>
                <a:cxn ang="0">
                  <a:pos x="714" y="1328"/>
                </a:cxn>
                <a:cxn ang="0">
                  <a:pos x="645" y="1123"/>
                </a:cxn>
                <a:cxn ang="0">
                  <a:pos x="544" y="965"/>
                </a:cxn>
                <a:cxn ang="0">
                  <a:pos x="468" y="895"/>
                </a:cxn>
                <a:cxn ang="0">
                  <a:pos x="381" y="823"/>
                </a:cxn>
                <a:cxn ang="0">
                  <a:pos x="328" y="813"/>
                </a:cxn>
                <a:cxn ang="0">
                  <a:pos x="330" y="674"/>
                </a:cxn>
                <a:cxn ang="0">
                  <a:pos x="311" y="509"/>
                </a:cxn>
                <a:cxn ang="0">
                  <a:pos x="168" y="455"/>
                </a:cxn>
                <a:cxn ang="0">
                  <a:pos x="21" y="373"/>
                </a:cxn>
                <a:cxn ang="0">
                  <a:pos x="15" y="283"/>
                </a:cxn>
                <a:cxn ang="0">
                  <a:pos x="37" y="184"/>
                </a:cxn>
                <a:cxn ang="0">
                  <a:pos x="162" y="59"/>
                </a:cxn>
                <a:cxn ang="0">
                  <a:pos x="300" y="0"/>
                </a:cxn>
                <a:cxn ang="0">
                  <a:pos x="380" y="66"/>
                </a:cxn>
                <a:cxn ang="0">
                  <a:pos x="551" y="227"/>
                </a:cxn>
                <a:cxn ang="0">
                  <a:pos x="800" y="362"/>
                </a:cxn>
                <a:cxn ang="0">
                  <a:pos x="1004" y="455"/>
                </a:cxn>
                <a:cxn ang="0">
                  <a:pos x="1136" y="536"/>
                </a:cxn>
                <a:cxn ang="0">
                  <a:pos x="1232" y="573"/>
                </a:cxn>
                <a:cxn ang="0">
                  <a:pos x="1506" y="1176"/>
                </a:cxn>
                <a:cxn ang="0">
                  <a:pos x="1023" y="1258"/>
                </a:cxn>
                <a:cxn ang="0">
                  <a:pos x="842" y="1381"/>
                </a:cxn>
                <a:cxn ang="0">
                  <a:pos x="741" y="1413"/>
                </a:cxn>
              </a:cxnLst>
              <a:rect l="0" t="0" r="r" b="b"/>
              <a:pathLst>
                <a:path w="1544" h="1458">
                  <a:moveTo>
                    <a:pt x="741" y="1413"/>
                  </a:moveTo>
                  <a:cubicBezTo>
                    <a:pt x="733" y="1397"/>
                    <a:pt x="720" y="1359"/>
                    <a:pt x="714" y="1328"/>
                  </a:cubicBezTo>
                  <a:cubicBezTo>
                    <a:pt x="708" y="1296"/>
                    <a:pt x="677" y="1205"/>
                    <a:pt x="645" y="1123"/>
                  </a:cubicBezTo>
                  <a:cubicBezTo>
                    <a:pt x="596" y="994"/>
                    <a:pt x="583" y="973"/>
                    <a:pt x="544" y="965"/>
                  </a:cubicBezTo>
                  <a:cubicBezTo>
                    <a:pt x="517" y="960"/>
                    <a:pt x="490" y="936"/>
                    <a:pt x="468" y="895"/>
                  </a:cubicBezTo>
                  <a:cubicBezTo>
                    <a:pt x="442" y="848"/>
                    <a:pt x="420" y="831"/>
                    <a:pt x="381" y="823"/>
                  </a:cubicBezTo>
                  <a:lnTo>
                    <a:pt x="328" y="813"/>
                  </a:lnTo>
                  <a:lnTo>
                    <a:pt x="330" y="674"/>
                  </a:lnTo>
                  <a:cubicBezTo>
                    <a:pt x="330" y="584"/>
                    <a:pt x="324" y="523"/>
                    <a:pt x="311" y="509"/>
                  </a:cubicBezTo>
                  <a:cubicBezTo>
                    <a:pt x="300" y="496"/>
                    <a:pt x="236" y="472"/>
                    <a:pt x="168" y="455"/>
                  </a:cubicBezTo>
                  <a:cubicBezTo>
                    <a:pt x="58" y="427"/>
                    <a:pt x="44" y="419"/>
                    <a:pt x="21" y="373"/>
                  </a:cubicBezTo>
                  <a:cubicBezTo>
                    <a:pt x="2" y="331"/>
                    <a:pt x="0" y="312"/>
                    <a:pt x="15" y="283"/>
                  </a:cubicBezTo>
                  <a:cubicBezTo>
                    <a:pt x="24" y="264"/>
                    <a:pt x="36" y="219"/>
                    <a:pt x="37" y="184"/>
                  </a:cubicBezTo>
                  <a:cubicBezTo>
                    <a:pt x="42" y="122"/>
                    <a:pt x="45" y="119"/>
                    <a:pt x="162" y="59"/>
                  </a:cubicBezTo>
                  <a:cubicBezTo>
                    <a:pt x="228" y="27"/>
                    <a:pt x="290" y="0"/>
                    <a:pt x="300" y="0"/>
                  </a:cubicBezTo>
                  <a:cubicBezTo>
                    <a:pt x="308" y="0"/>
                    <a:pt x="344" y="29"/>
                    <a:pt x="380" y="66"/>
                  </a:cubicBezTo>
                  <a:cubicBezTo>
                    <a:pt x="413" y="101"/>
                    <a:pt x="492" y="175"/>
                    <a:pt x="551" y="227"/>
                  </a:cubicBezTo>
                  <a:cubicBezTo>
                    <a:pt x="650" y="315"/>
                    <a:pt x="672" y="328"/>
                    <a:pt x="800" y="362"/>
                  </a:cubicBezTo>
                  <a:cubicBezTo>
                    <a:pt x="909" y="391"/>
                    <a:pt x="956" y="413"/>
                    <a:pt x="1004" y="455"/>
                  </a:cubicBezTo>
                  <a:cubicBezTo>
                    <a:pt x="1037" y="487"/>
                    <a:pt x="1096" y="523"/>
                    <a:pt x="1136" y="536"/>
                  </a:cubicBezTo>
                  <a:cubicBezTo>
                    <a:pt x="1178" y="551"/>
                    <a:pt x="1220" y="568"/>
                    <a:pt x="1232" y="573"/>
                  </a:cubicBezTo>
                  <a:cubicBezTo>
                    <a:pt x="1295" y="605"/>
                    <a:pt x="1544" y="1152"/>
                    <a:pt x="1506" y="1176"/>
                  </a:cubicBezTo>
                  <a:cubicBezTo>
                    <a:pt x="1485" y="1189"/>
                    <a:pt x="1160" y="1243"/>
                    <a:pt x="1023" y="1258"/>
                  </a:cubicBezTo>
                  <a:cubicBezTo>
                    <a:pt x="904" y="1269"/>
                    <a:pt x="871" y="1293"/>
                    <a:pt x="842" y="1381"/>
                  </a:cubicBezTo>
                  <a:cubicBezTo>
                    <a:pt x="823" y="1440"/>
                    <a:pt x="765" y="1458"/>
                    <a:pt x="741" y="1413"/>
                  </a:cubicBezTo>
                  <a:close/>
                </a:path>
              </a:pathLst>
            </a:custGeom>
            <a:solidFill>
              <a:srgbClr val="22528C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16" name="Сахалинская область">
              <a:extLst>
                <a:ext uri="{FF2B5EF4-FFF2-40B4-BE49-F238E27FC236}">
                  <a16:creationId xmlns="" xmlns:a16="http://schemas.microsoft.com/office/drawing/2014/main" id="{00000000-0008-0000-0300-00007B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01126" y="5548770"/>
              <a:ext cx="1394593" cy="1336201"/>
            </a:xfrm>
            <a:custGeom>
              <a:avLst/>
              <a:gdLst/>
              <a:ahLst/>
              <a:cxnLst>
                <a:cxn ang="0">
                  <a:pos x="1870" y="2283"/>
                </a:cxn>
                <a:cxn ang="0">
                  <a:pos x="1792" y="2232"/>
                </a:cxn>
                <a:cxn ang="0">
                  <a:pos x="1502" y="1825"/>
                </a:cxn>
                <a:cxn ang="0">
                  <a:pos x="1360" y="1656"/>
                </a:cxn>
                <a:cxn ang="0">
                  <a:pos x="1005" y="1277"/>
                </a:cxn>
                <a:cxn ang="0">
                  <a:pos x="718" y="929"/>
                </a:cxn>
                <a:cxn ang="0">
                  <a:pos x="589" y="869"/>
                </a:cxn>
                <a:cxn ang="0">
                  <a:pos x="248" y="566"/>
                </a:cxn>
                <a:cxn ang="0">
                  <a:pos x="194" y="339"/>
                </a:cxn>
                <a:cxn ang="0">
                  <a:pos x="205" y="233"/>
                </a:cxn>
                <a:cxn ang="0">
                  <a:pos x="62" y="97"/>
                </a:cxn>
                <a:cxn ang="0">
                  <a:pos x="43" y="16"/>
                </a:cxn>
                <a:cxn ang="0">
                  <a:pos x="174" y="105"/>
                </a:cxn>
                <a:cxn ang="0">
                  <a:pos x="406" y="326"/>
                </a:cxn>
                <a:cxn ang="0">
                  <a:pos x="560" y="499"/>
                </a:cxn>
                <a:cxn ang="0">
                  <a:pos x="875" y="720"/>
                </a:cxn>
                <a:cxn ang="0">
                  <a:pos x="1533" y="1094"/>
                </a:cxn>
                <a:cxn ang="0">
                  <a:pos x="1442" y="1157"/>
                </a:cxn>
                <a:cxn ang="0">
                  <a:pos x="1325" y="1229"/>
                </a:cxn>
                <a:cxn ang="0">
                  <a:pos x="1398" y="1441"/>
                </a:cxn>
                <a:cxn ang="0">
                  <a:pos x="1522" y="1720"/>
                </a:cxn>
                <a:cxn ang="0">
                  <a:pos x="1914" y="1942"/>
                </a:cxn>
                <a:cxn ang="0">
                  <a:pos x="2125" y="2069"/>
                </a:cxn>
                <a:cxn ang="0">
                  <a:pos x="1990" y="2054"/>
                </a:cxn>
                <a:cxn ang="0">
                  <a:pos x="1882" y="2061"/>
                </a:cxn>
                <a:cxn ang="0">
                  <a:pos x="1936" y="2257"/>
                </a:cxn>
                <a:cxn ang="0">
                  <a:pos x="1870" y="2283"/>
                </a:cxn>
              </a:cxnLst>
              <a:rect l="0" t="0" r="r" b="b"/>
              <a:pathLst>
                <a:path w="2222" h="2325">
                  <a:moveTo>
                    <a:pt x="1870" y="2283"/>
                  </a:moveTo>
                  <a:cubicBezTo>
                    <a:pt x="1845" y="2269"/>
                    <a:pt x="1810" y="2246"/>
                    <a:pt x="1792" y="2232"/>
                  </a:cubicBezTo>
                  <a:cubicBezTo>
                    <a:pt x="1731" y="2179"/>
                    <a:pt x="1576" y="1961"/>
                    <a:pt x="1502" y="1825"/>
                  </a:cubicBezTo>
                  <a:cubicBezTo>
                    <a:pt x="1437" y="1704"/>
                    <a:pt x="1419" y="1681"/>
                    <a:pt x="1360" y="1656"/>
                  </a:cubicBezTo>
                  <a:cubicBezTo>
                    <a:pt x="1304" y="1632"/>
                    <a:pt x="1238" y="1561"/>
                    <a:pt x="1005" y="1277"/>
                  </a:cubicBezTo>
                  <a:lnTo>
                    <a:pt x="718" y="929"/>
                  </a:lnTo>
                  <a:lnTo>
                    <a:pt x="589" y="869"/>
                  </a:lnTo>
                  <a:cubicBezTo>
                    <a:pt x="427" y="795"/>
                    <a:pt x="350" y="726"/>
                    <a:pt x="248" y="566"/>
                  </a:cubicBezTo>
                  <a:cubicBezTo>
                    <a:pt x="162" y="432"/>
                    <a:pt x="150" y="385"/>
                    <a:pt x="194" y="339"/>
                  </a:cubicBezTo>
                  <a:cubicBezTo>
                    <a:pt x="214" y="315"/>
                    <a:pt x="218" y="296"/>
                    <a:pt x="205" y="233"/>
                  </a:cubicBezTo>
                  <a:cubicBezTo>
                    <a:pt x="190" y="157"/>
                    <a:pt x="184" y="150"/>
                    <a:pt x="62" y="97"/>
                  </a:cubicBezTo>
                  <a:cubicBezTo>
                    <a:pt x="8" y="75"/>
                    <a:pt x="0" y="41"/>
                    <a:pt x="43" y="16"/>
                  </a:cubicBezTo>
                  <a:cubicBezTo>
                    <a:pt x="67" y="0"/>
                    <a:pt x="86" y="14"/>
                    <a:pt x="174" y="105"/>
                  </a:cubicBezTo>
                  <a:cubicBezTo>
                    <a:pt x="230" y="165"/>
                    <a:pt x="334" y="264"/>
                    <a:pt x="406" y="326"/>
                  </a:cubicBezTo>
                  <a:cubicBezTo>
                    <a:pt x="488" y="398"/>
                    <a:pt x="544" y="462"/>
                    <a:pt x="560" y="499"/>
                  </a:cubicBezTo>
                  <a:cubicBezTo>
                    <a:pt x="581" y="553"/>
                    <a:pt x="611" y="574"/>
                    <a:pt x="875" y="720"/>
                  </a:cubicBezTo>
                  <a:cubicBezTo>
                    <a:pt x="1373" y="997"/>
                    <a:pt x="1518" y="1080"/>
                    <a:pt x="1533" y="1094"/>
                  </a:cubicBezTo>
                  <a:cubicBezTo>
                    <a:pt x="1542" y="1102"/>
                    <a:pt x="1506" y="1128"/>
                    <a:pt x="1442" y="1157"/>
                  </a:cubicBezTo>
                  <a:cubicBezTo>
                    <a:pt x="1382" y="1184"/>
                    <a:pt x="1330" y="1216"/>
                    <a:pt x="1325" y="1229"/>
                  </a:cubicBezTo>
                  <a:cubicBezTo>
                    <a:pt x="1320" y="1241"/>
                    <a:pt x="1354" y="1337"/>
                    <a:pt x="1398" y="1441"/>
                  </a:cubicBezTo>
                  <a:cubicBezTo>
                    <a:pt x="1445" y="1545"/>
                    <a:pt x="1499" y="1670"/>
                    <a:pt x="1522" y="1720"/>
                  </a:cubicBezTo>
                  <a:cubicBezTo>
                    <a:pt x="1568" y="1825"/>
                    <a:pt x="1581" y="1832"/>
                    <a:pt x="1914" y="1942"/>
                  </a:cubicBezTo>
                  <a:cubicBezTo>
                    <a:pt x="2120" y="2009"/>
                    <a:pt x="2222" y="2070"/>
                    <a:pt x="2125" y="2069"/>
                  </a:cubicBezTo>
                  <a:cubicBezTo>
                    <a:pt x="2099" y="2069"/>
                    <a:pt x="2038" y="2062"/>
                    <a:pt x="1990" y="2054"/>
                  </a:cubicBezTo>
                  <a:cubicBezTo>
                    <a:pt x="1926" y="2045"/>
                    <a:pt x="1896" y="2046"/>
                    <a:pt x="1882" y="2061"/>
                  </a:cubicBezTo>
                  <a:cubicBezTo>
                    <a:pt x="1859" y="2081"/>
                    <a:pt x="1858" y="2077"/>
                    <a:pt x="1936" y="2257"/>
                  </a:cubicBezTo>
                  <a:cubicBezTo>
                    <a:pt x="1963" y="2318"/>
                    <a:pt x="1947" y="2325"/>
                    <a:pt x="1870" y="2283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17" name="Свердловская область">
              <a:extLst>
                <a:ext uri="{FF2B5EF4-FFF2-40B4-BE49-F238E27FC236}">
                  <a16:creationId xmlns="" xmlns:a16="http://schemas.microsoft.com/office/drawing/2014/main" id="{00000000-0008-0000-0300-00007C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6827" y="5594846"/>
              <a:ext cx="1153800" cy="1234833"/>
            </a:xfrm>
            <a:custGeom>
              <a:avLst/>
              <a:gdLst/>
              <a:ahLst/>
              <a:cxnLst>
                <a:cxn ang="0">
                  <a:pos x="1238" y="2119"/>
                </a:cxn>
                <a:cxn ang="0">
                  <a:pos x="992" y="2024"/>
                </a:cxn>
                <a:cxn ang="0">
                  <a:pos x="894" y="2058"/>
                </a:cxn>
                <a:cxn ang="0">
                  <a:pos x="830" y="2093"/>
                </a:cxn>
                <a:cxn ang="0">
                  <a:pos x="768" y="2050"/>
                </a:cxn>
                <a:cxn ang="0">
                  <a:pos x="686" y="2008"/>
                </a:cxn>
                <a:cxn ang="0">
                  <a:pos x="429" y="1901"/>
                </a:cxn>
                <a:cxn ang="0">
                  <a:pos x="376" y="1848"/>
                </a:cxn>
                <a:cxn ang="0">
                  <a:pos x="282" y="1823"/>
                </a:cxn>
                <a:cxn ang="0">
                  <a:pos x="221" y="1850"/>
                </a:cxn>
                <a:cxn ang="0">
                  <a:pos x="115" y="1792"/>
                </a:cxn>
                <a:cxn ang="0">
                  <a:pos x="30" y="1600"/>
                </a:cxn>
                <a:cxn ang="0">
                  <a:pos x="48" y="1520"/>
                </a:cxn>
                <a:cxn ang="0">
                  <a:pos x="136" y="1512"/>
                </a:cxn>
                <a:cxn ang="0">
                  <a:pos x="262" y="1427"/>
                </a:cxn>
                <a:cxn ang="0">
                  <a:pos x="408" y="1365"/>
                </a:cxn>
                <a:cxn ang="0">
                  <a:pos x="514" y="1301"/>
                </a:cxn>
                <a:cxn ang="0">
                  <a:pos x="693" y="1167"/>
                </a:cxn>
                <a:cxn ang="0">
                  <a:pos x="741" y="1091"/>
                </a:cxn>
                <a:cxn ang="0">
                  <a:pos x="765" y="999"/>
                </a:cxn>
                <a:cxn ang="0">
                  <a:pos x="760" y="843"/>
                </a:cxn>
                <a:cxn ang="0">
                  <a:pos x="773" y="693"/>
                </a:cxn>
                <a:cxn ang="0">
                  <a:pos x="1038" y="432"/>
                </a:cxn>
                <a:cxn ang="0">
                  <a:pos x="1104" y="304"/>
                </a:cxn>
                <a:cxn ang="0">
                  <a:pos x="1186" y="131"/>
                </a:cxn>
                <a:cxn ang="0">
                  <a:pos x="1208" y="90"/>
                </a:cxn>
                <a:cxn ang="0">
                  <a:pos x="1230" y="31"/>
                </a:cxn>
                <a:cxn ang="0">
                  <a:pos x="1270" y="48"/>
                </a:cxn>
                <a:cxn ang="0">
                  <a:pos x="1389" y="184"/>
                </a:cxn>
                <a:cxn ang="0">
                  <a:pos x="1554" y="375"/>
                </a:cxn>
                <a:cxn ang="0">
                  <a:pos x="1645" y="523"/>
                </a:cxn>
                <a:cxn ang="0">
                  <a:pos x="1610" y="674"/>
                </a:cxn>
                <a:cxn ang="0">
                  <a:pos x="1576" y="823"/>
                </a:cxn>
                <a:cxn ang="0">
                  <a:pos x="1611" y="893"/>
                </a:cxn>
                <a:cxn ang="0">
                  <a:pos x="1621" y="1063"/>
                </a:cxn>
                <a:cxn ang="0">
                  <a:pos x="1595" y="1160"/>
                </a:cxn>
                <a:cxn ang="0">
                  <a:pos x="1643" y="1200"/>
                </a:cxn>
                <a:cxn ang="0">
                  <a:pos x="1701" y="1240"/>
                </a:cxn>
                <a:cxn ang="0">
                  <a:pos x="1757" y="1280"/>
                </a:cxn>
                <a:cxn ang="0">
                  <a:pos x="1800" y="1413"/>
                </a:cxn>
                <a:cxn ang="0">
                  <a:pos x="1824" y="1544"/>
                </a:cxn>
                <a:cxn ang="0">
                  <a:pos x="1848" y="1666"/>
                </a:cxn>
                <a:cxn ang="0">
                  <a:pos x="1848" y="1747"/>
                </a:cxn>
                <a:cxn ang="0">
                  <a:pos x="1789" y="1757"/>
                </a:cxn>
                <a:cxn ang="0">
                  <a:pos x="1613" y="1749"/>
                </a:cxn>
                <a:cxn ang="0">
                  <a:pos x="1480" y="2050"/>
                </a:cxn>
                <a:cxn ang="0">
                  <a:pos x="1472" y="2120"/>
                </a:cxn>
                <a:cxn ang="0">
                  <a:pos x="1414" y="2095"/>
                </a:cxn>
                <a:cxn ang="0">
                  <a:pos x="1314" y="2112"/>
                </a:cxn>
                <a:cxn ang="0">
                  <a:pos x="1261" y="2152"/>
                </a:cxn>
                <a:cxn ang="0">
                  <a:pos x="1238" y="2119"/>
                </a:cxn>
              </a:cxnLst>
              <a:rect l="0" t="0" r="r" b="b"/>
              <a:pathLst>
                <a:path w="1848" h="2152">
                  <a:moveTo>
                    <a:pt x="1238" y="2119"/>
                  </a:moveTo>
                  <a:cubicBezTo>
                    <a:pt x="1216" y="2085"/>
                    <a:pt x="1059" y="2024"/>
                    <a:pt x="992" y="2024"/>
                  </a:cubicBezTo>
                  <a:cubicBezTo>
                    <a:pt x="974" y="2024"/>
                    <a:pt x="931" y="2039"/>
                    <a:pt x="894" y="2058"/>
                  </a:cubicBezTo>
                  <a:lnTo>
                    <a:pt x="830" y="2093"/>
                  </a:lnTo>
                  <a:lnTo>
                    <a:pt x="768" y="2050"/>
                  </a:lnTo>
                  <a:cubicBezTo>
                    <a:pt x="733" y="2027"/>
                    <a:pt x="696" y="2008"/>
                    <a:pt x="686" y="2008"/>
                  </a:cubicBezTo>
                  <a:cubicBezTo>
                    <a:pt x="670" y="2008"/>
                    <a:pt x="622" y="1987"/>
                    <a:pt x="429" y="1901"/>
                  </a:cubicBezTo>
                  <a:cubicBezTo>
                    <a:pt x="395" y="1887"/>
                    <a:pt x="376" y="1867"/>
                    <a:pt x="376" y="1848"/>
                  </a:cubicBezTo>
                  <a:cubicBezTo>
                    <a:pt x="376" y="1802"/>
                    <a:pt x="347" y="1794"/>
                    <a:pt x="282" y="1823"/>
                  </a:cubicBezTo>
                  <a:lnTo>
                    <a:pt x="221" y="1850"/>
                  </a:lnTo>
                  <a:lnTo>
                    <a:pt x="115" y="1792"/>
                  </a:lnTo>
                  <a:cubicBezTo>
                    <a:pt x="0" y="1728"/>
                    <a:pt x="0" y="1728"/>
                    <a:pt x="30" y="1600"/>
                  </a:cubicBezTo>
                  <a:lnTo>
                    <a:pt x="48" y="1520"/>
                  </a:lnTo>
                  <a:lnTo>
                    <a:pt x="136" y="1512"/>
                  </a:lnTo>
                  <a:cubicBezTo>
                    <a:pt x="222" y="1504"/>
                    <a:pt x="224" y="1503"/>
                    <a:pt x="262" y="1427"/>
                  </a:cubicBezTo>
                  <a:cubicBezTo>
                    <a:pt x="301" y="1347"/>
                    <a:pt x="312" y="1343"/>
                    <a:pt x="408" y="1365"/>
                  </a:cubicBezTo>
                  <a:cubicBezTo>
                    <a:pt x="486" y="1384"/>
                    <a:pt x="502" y="1375"/>
                    <a:pt x="514" y="1301"/>
                  </a:cubicBezTo>
                  <a:cubicBezTo>
                    <a:pt x="525" y="1234"/>
                    <a:pt x="517" y="1240"/>
                    <a:pt x="693" y="1167"/>
                  </a:cubicBezTo>
                  <a:cubicBezTo>
                    <a:pt x="738" y="1147"/>
                    <a:pt x="744" y="1136"/>
                    <a:pt x="741" y="1091"/>
                  </a:cubicBezTo>
                  <a:cubicBezTo>
                    <a:pt x="739" y="1061"/>
                    <a:pt x="750" y="1021"/>
                    <a:pt x="765" y="999"/>
                  </a:cubicBezTo>
                  <a:cubicBezTo>
                    <a:pt x="800" y="949"/>
                    <a:pt x="798" y="917"/>
                    <a:pt x="760" y="843"/>
                  </a:cubicBezTo>
                  <a:cubicBezTo>
                    <a:pt x="715" y="760"/>
                    <a:pt x="718" y="715"/>
                    <a:pt x="773" y="693"/>
                  </a:cubicBezTo>
                  <a:cubicBezTo>
                    <a:pt x="814" y="674"/>
                    <a:pt x="931" y="560"/>
                    <a:pt x="1038" y="432"/>
                  </a:cubicBezTo>
                  <a:cubicBezTo>
                    <a:pt x="1069" y="395"/>
                    <a:pt x="1098" y="339"/>
                    <a:pt x="1104" y="304"/>
                  </a:cubicBezTo>
                  <a:cubicBezTo>
                    <a:pt x="1117" y="229"/>
                    <a:pt x="1155" y="149"/>
                    <a:pt x="1186" y="131"/>
                  </a:cubicBezTo>
                  <a:cubicBezTo>
                    <a:pt x="1198" y="123"/>
                    <a:pt x="1208" y="106"/>
                    <a:pt x="1208" y="90"/>
                  </a:cubicBezTo>
                  <a:cubicBezTo>
                    <a:pt x="1208" y="74"/>
                    <a:pt x="1218" y="48"/>
                    <a:pt x="1230" y="31"/>
                  </a:cubicBezTo>
                  <a:cubicBezTo>
                    <a:pt x="1253" y="0"/>
                    <a:pt x="1254" y="2"/>
                    <a:pt x="1270" y="48"/>
                  </a:cubicBezTo>
                  <a:cubicBezTo>
                    <a:pt x="1299" y="128"/>
                    <a:pt x="1312" y="143"/>
                    <a:pt x="1389" y="184"/>
                  </a:cubicBezTo>
                  <a:cubicBezTo>
                    <a:pt x="1450" y="216"/>
                    <a:pt x="1478" y="250"/>
                    <a:pt x="1554" y="375"/>
                  </a:cubicBezTo>
                  <a:lnTo>
                    <a:pt x="1645" y="523"/>
                  </a:lnTo>
                  <a:lnTo>
                    <a:pt x="1610" y="674"/>
                  </a:lnTo>
                  <a:lnTo>
                    <a:pt x="1576" y="823"/>
                  </a:lnTo>
                  <a:lnTo>
                    <a:pt x="1611" y="893"/>
                  </a:lnTo>
                  <a:cubicBezTo>
                    <a:pt x="1643" y="962"/>
                    <a:pt x="1643" y="968"/>
                    <a:pt x="1621" y="1063"/>
                  </a:cubicBezTo>
                  <a:lnTo>
                    <a:pt x="1595" y="1160"/>
                  </a:lnTo>
                  <a:lnTo>
                    <a:pt x="1643" y="1200"/>
                  </a:lnTo>
                  <a:cubicBezTo>
                    <a:pt x="1669" y="1221"/>
                    <a:pt x="1696" y="1240"/>
                    <a:pt x="1701" y="1240"/>
                  </a:cubicBezTo>
                  <a:cubicBezTo>
                    <a:pt x="1707" y="1240"/>
                    <a:pt x="1733" y="1258"/>
                    <a:pt x="1757" y="1280"/>
                  </a:cubicBezTo>
                  <a:cubicBezTo>
                    <a:pt x="1794" y="1315"/>
                    <a:pt x="1800" y="1333"/>
                    <a:pt x="1800" y="1413"/>
                  </a:cubicBezTo>
                  <a:cubicBezTo>
                    <a:pt x="1802" y="1463"/>
                    <a:pt x="1811" y="1522"/>
                    <a:pt x="1824" y="1544"/>
                  </a:cubicBezTo>
                  <a:cubicBezTo>
                    <a:pt x="1837" y="1565"/>
                    <a:pt x="1848" y="1621"/>
                    <a:pt x="1848" y="1666"/>
                  </a:cubicBezTo>
                  <a:lnTo>
                    <a:pt x="1848" y="1747"/>
                  </a:lnTo>
                  <a:lnTo>
                    <a:pt x="1789" y="1757"/>
                  </a:lnTo>
                  <a:cubicBezTo>
                    <a:pt x="1696" y="1773"/>
                    <a:pt x="1632" y="1770"/>
                    <a:pt x="1613" y="1749"/>
                  </a:cubicBezTo>
                  <a:cubicBezTo>
                    <a:pt x="1584" y="1722"/>
                    <a:pt x="1480" y="1959"/>
                    <a:pt x="1480" y="2050"/>
                  </a:cubicBezTo>
                  <a:cubicBezTo>
                    <a:pt x="1480" y="2088"/>
                    <a:pt x="1477" y="2120"/>
                    <a:pt x="1472" y="2120"/>
                  </a:cubicBezTo>
                  <a:cubicBezTo>
                    <a:pt x="1467" y="2120"/>
                    <a:pt x="1442" y="2109"/>
                    <a:pt x="1414" y="2095"/>
                  </a:cubicBezTo>
                  <a:cubicBezTo>
                    <a:pt x="1370" y="2072"/>
                    <a:pt x="1365" y="2072"/>
                    <a:pt x="1314" y="2112"/>
                  </a:cubicBezTo>
                  <a:lnTo>
                    <a:pt x="1261" y="2152"/>
                  </a:lnTo>
                  <a:lnTo>
                    <a:pt x="1238" y="2119"/>
                  </a:lnTo>
                  <a:close/>
                </a:path>
              </a:pathLst>
            </a:custGeom>
            <a:solidFill>
              <a:srgbClr val="153255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18" name="Смоленская область">
              <a:extLst>
                <a:ext uri="{FF2B5EF4-FFF2-40B4-BE49-F238E27FC236}">
                  <a16:creationId xmlns="" xmlns:a16="http://schemas.microsoft.com/office/drawing/2014/main" id="{00000000-0008-0000-0300-00007D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6981" y="4793125"/>
              <a:ext cx="612016" cy="442328"/>
            </a:xfrm>
            <a:custGeom>
              <a:avLst/>
              <a:gdLst/>
              <a:ahLst/>
              <a:cxnLst>
                <a:cxn ang="0">
                  <a:pos x="48" y="752"/>
                </a:cxn>
                <a:cxn ang="0">
                  <a:pos x="75" y="357"/>
                </a:cxn>
                <a:cxn ang="0">
                  <a:pos x="226" y="94"/>
                </a:cxn>
                <a:cxn ang="0">
                  <a:pos x="376" y="19"/>
                </a:cxn>
                <a:cxn ang="0">
                  <a:pos x="523" y="189"/>
                </a:cxn>
                <a:cxn ang="0">
                  <a:pos x="616" y="339"/>
                </a:cxn>
                <a:cxn ang="0">
                  <a:pos x="853" y="339"/>
                </a:cxn>
                <a:cxn ang="0">
                  <a:pos x="917" y="421"/>
                </a:cxn>
                <a:cxn ang="0">
                  <a:pos x="981" y="515"/>
                </a:cxn>
                <a:cxn ang="0">
                  <a:pos x="863" y="734"/>
                </a:cxn>
                <a:cxn ang="0">
                  <a:pos x="682" y="765"/>
                </a:cxn>
                <a:cxn ang="0">
                  <a:pos x="520" y="776"/>
                </a:cxn>
                <a:cxn ang="0">
                  <a:pos x="440" y="683"/>
                </a:cxn>
                <a:cxn ang="0">
                  <a:pos x="363" y="718"/>
                </a:cxn>
                <a:cxn ang="0">
                  <a:pos x="48" y="752"/>
                </a:cxn>
              </a:cxnLst>
              <a:rect l="0" t="0" r="r" b="b"/>
              <a:pathLst>
                <a:path w="981" h="776">
                  <a:moveTo>
                    <a:pt x="48" y="752"/>
                  </a:moveTo>
                  <a:cubicBezTo>
                    <a:pt x="0" y="725"/>
                    <a:pt x="13" y="549"/>
                    <a:pt x="75" y="357"/>
                  </a:cubicBezTo>
                  <a:cubicBezTo>
                    <a:pt x="127" y="203"/>
                    <a:pt x="138" y="182"/>
                    <a:pt x="226" y="94"/>
                  </a:cubicBezTo>
                  <a:cubicBezTo>
                    <a:pt x="320" y="0"/>
                    <a:pt x="322" y="0"/>
                    <a:pt x="376" y="19"/>
                  </a:cubicBezTo>
                  <a:cubicBezTo>
                    <a:pt x="421" y="35"/>
                    <a:pt x="450" y="67"/>
                    <a:pt x="523" y="189"/>
                  </a:cubicBezTo>
                  <a:lnTo>
                    <a:pt x="616" y="339"/>
                  </a:lnTo>
                  <a:lnTo>
                    <a:pt x="853" y="339"/>
                  </a:lnTo>
                  <a:lnTo>
                    <a:pt x="917" y="421"/>
                  </a:lnTo>
                  <a:cubicBezTo>
                    <a:pt x="952" y="466"/>
                    <a:pt x="981" y="507"/>
                    <a:pt x="981" y="515"/>
                  </a:cubicBezTo>
                  <a:cubicBezTo>
                    <a:pt x="981" y="533"/>
                    <a:pt x="887" y="709"/>
                    <a:pt x="863" y="734"/>
                  </a:cubicBezTo>
                  <a:cubicBezTo>
                    <a:pt x="850" y="747"/>
                    <a:pt x="781" y="760"/>
                    <a:pt x="682" y="765"/>
                  </a:cubicBezTo>
                  <a:lnTo>
                    <a:pt x="520" y="776"/>
                  </a:lnTo>
                  <a:lnTo>
                    <a:pt x="440" y="683"/>
                  </a:lnTo>
                  <a:lnTo>
                    <a:pt x="363" y="718"/>
                  </a:lnTo>
                  <a:cubicBezTo>
                    <a:pt x="279" y="755"/>
                    <a:pt x="90" y="776"/>
                    <a:pt x="48" y="752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19" name="Ставропольский край">
              <a:extLst>
                <a:ext uri="{FF2B5EF4-FFF2-40B4-BE49-F238E27FC236}">
                  <a16:creationId xmlns="" xmlns:a16="http://schemas.microsoft.com/office/drawing/2014/main" id="{00000000-0008-0000-0300-00007E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5593" y="7235148"/>
              <a:ext cx="581916" cy="681923"/>
            </a:xfrm>
            <a:custGeom>
              <a:avLst/>
              <a:gdLst>
                <a:gd name="T0" fmla="*/ 421 w 58"/>
                <a:gd name="T1" fmla="*/ 1171 h 74"/>
                <a:gd name="T2" fmla="*/ 416 w 58"/>
                <a:gd name="T3" fmla="*/ 1097 h 74"/>
                <a:gd name="T4" fmla="*/ 389 w 58"/>
                <a:gd name="T5" fmla="*/ 987 h 74"/>
                <a:gd name="T6" fmla="*/ 198 w 58"/>
                <a:gd name="T7" fmla="*/ 886 h 74"/>
                <a:gd name="T8" fmla="*/ 54 w 58"/>
                <a:gd name="T9" fmla="*/ 742 h 74"/>
                <a:gd name="T10" fmla="*/ 66 w 58"/>
                <a:gd name="T11" fmla="*/ 673 h 74"/>
                <a:gd name="T12" fmla="*/ 58 w 58"/>
                <a:gd name="T13" fmla="*/ 558 h 74"/>
                <a:gd name="T14" fmla="*/ 0 w 58"/>
                <a:gd name="T15" fmla="*/ 444 h 74"/>
                <a:gd name="T16" fmla="*/ 67 w 58"/>
                <a:gd name="T17" fmla="*/ 320 h 74"/>
                <a:gd name="T18" fmla="*/ 72 w 58"/>
                <a:gd name="T19" fmla="*/ 204 h 74"/>
                <a:gd name="T20" fmla="*/ 70 w 58"/>
                <a:gd name="T21" fmla="*/ 73 h 74"/>
                <a:gd name="T22" fmla="*/ 141 w 58"/>
                <a:gd name="T23" fmla="*/ 35 h 74"/>
                <a:gd name="T24" fmla="*/ 222 w 58"/>
                <a:gd name="T25" fmla="*/ 19 h 74"/>
                <a:gd name="T26" fmla="*/ 326 w 58"/>
                <a:gd name="T27" fmla="*/ 64 h 74"/>
                <a:gd name="T28" fmla="*/ 422 w 58"/>
                <a:gd name="T29" fmla="*/ 120 h 74"/>
                <a:gd name="T30" fmla="*/ 459 w 58"/>
                <a:gd name="T31" fmla="*/ 142 h 74"/>
                <a:gd name="T32" fmla="*/ 534 w 58"/>
                <a:gd name="T33" fmla="*/ 177 h 74"/>
                <a:gd name="T34" fmla="*/ 662 w 58"/>
                <a:gd name="T35" fmla="*/ 275 h 74"/>
                <a:gd name="T36" fmla="*/ 746 w 58"/>
                <a:gd name="T37" fmla="*/ 470 h 74"/>
                <a:gd name="T38" fmla="*/ 821 w 58"/>
                <a:gd name="T39" fmla="*/ 683 h 74"/>
                <a:gd name="T40" fmla="*/ 891 w 58"/>
                <a:gd name="T41" fmla="*/ 939 h 74"/>
                <a:gd name="T42" fmla="*/ 760 w 58"/>
                <a:gd name="T43" fmla="*/ 1017 h 74"/>
                <a:gd name="T44" fmla="*/ 614 w 58"/>
                <a:gd name="T45" fmla="*/ 1144 h 74"/>
                <a:gd name="T46" fmla="*/ 539 w 58"/>
                <a:gd name="T47" fmla="*/ 1177 h 74"/>
                <a:gd name="T48" fmla="*/ 421 w 58"/>
                <a:gd name="T49" fmla="*/ 1171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8"/>
                <a:gd name="T76" fmla="*/ 0 h 74"/>
                <a:gd name="T77" fmla="*/ 918 w 58"/>
                <a:gd name="T78" fmla="*/ 1177 h 7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8" h="74">
                  <a:moveTo>
                    <a:pt x="27" y="74"/>
                  </a:moveTo>
                  <a:cubicBezTo>
                    <a:pt x="24" y="73"/>
                    <a:pt x="24" y="73"/>
                    <a:pt x="26" y="69"/>
                  </a:cubicBezTo>
                  <a:cubicBezTo>
                    <a:pt x="29" y="65"/>
                    <a:pt x="29" y="64"/>
                    <a:pt x="25" y="62"/>
                  </a:cubicBezTo>
                  <a:cubicBezTo>
                    <a:pt x="22" y="61"/>
                    <a:pt x="17" y="58"/>
                    <a:pt x="13" y="56"/>
                  </a:cubicBezTo>
                  <a:cubicBezTo>
                    <a:pt x="5" y="51"/>
                    <a:pt x="4" y="51"/>
                    <a:pt x="3" y="47"/>
                  </a:cubicBezTo>
                  <a:cubicBezTo>
                    <a:pt x="3" y="43"/>
                    <a:pt x="3" y="42"/>
                    <a:pt x="4" y="42"/>
                  </a:cubicBezTo>
                  <a:cubicBezTo>
                    <a:pt x="7" y="42"/>
                    <a:pt x="7" y="40"/>
                    <a:pt x="4" y="35"/>
                  </a:cubicBezTo>
                  <a:cubicBezTo>
                    <a:pt x="2" y="32"/>
                    <a:pt x="0" y="29"/>
                    <a:pt x="0" y="28"/>
                  </a:cubicBezTo>
                  <a:cubicBezTo>
                    <a:pt x="0" y="25"/>
                    <a:pt x="2" y="22"/>
                    <a:pt x="4" y="20"/>
                  </a:cubicBezTo>
                  <a:cubicBezTo>
                    <a:pt x="6" y="18"/>
                    <a:pt x="6" y="18"/>
                    <a:pt x="5" y="13"/>
                  </a:cubicBezTo>
                  <a:cubicBezTo>
                    <a:pt x="3" y="8"/>
                    <a:pt x="3" y="7"/>
                    <a:pt x="4" y="5"/>
                  </a:cubicBezTo>
                  <a:cubicBezTo>
                    <a:pt x="6" y="3"/>
                    <a:pt x="7" y="2"/>
                    <a:pt x="9" y="2"/>
                  </a:cubicBezTo>
                  <a:cubicBezTo>
                    <a:pt x="10" y="2"/>
                    <a:pt x="13" y="2"/>
                    <a:pt x="14" y="1"/>
                  </a:cubicBezTo>
                  <a:cubicBezTo>
                    <a:pt x="16" y="0"/>
                    <a:pt x="17" y="0"/>
                    <a:pt x="21" y="4"/>
                  </a:cubicBezTo>
                  <a:cubicBezTo>
                    <a:pt x="24" y="7"/>
                    <a:pt x="25" y="8"/>
                    <a:pt x="27" y="8"/>
                  </a:cubicBezTo>
                  <a:cubicBezTo>
                    <a:pt x="28" y="7"/>
                    <a:pt x="29" y="7"/>
                    <a:pt x="29" y="9"/>
                  </a:cubicBezTo>
                  <a:cubicBezTo>
                    <a:pt x="29" y="11"/>
                    <a:pt x="30" y="11"/>
                    <a:pt x="34" y="11"/>
                  </a:cubicBezTo>
                  <a:cubicBezTo>
                    <a:pt x="38" y="11"/>
                    <a:pt x="38" y="11"/>
                    <a:pt x="42" y="17"/>
                  </a:cubicBezTo>
                  <a:cubicBezTo>
                    <a:pt x="44" y="21"/>
                    <a:pt x="46" y="26"/>
                    <a:pt x="47" y="30"/>
                  </a:cubicBezTo>
                  <a:cubicBezTo>
                    <a:pt x="48" y="33"/>
                    <a:pt x="50" y="39"/>
                    <a:pt x="52" y="43"/>
                  </a:cubicBezTo>
                  <a:cubicBezTo>
                    <a:pt x="56" y="52"/>
                    <a:pt x="58" y="58"/>
                    <a:pt x="56" y="59"/>
                  </a:cubicBezTo>
                  <a:cubicBezTo>
                    <a:pt x="56" y="60"/>
                    <a:pt x="52" y="62"/>
                    <a:pt x="48" y="64"/>
                  </a:cubicBezTo>
                  <a:cubicBezTo>
                    <a:pt x="39" y="69"/>
                    <a:pt x="38" y="69"/>
                    <a:pt x="39" y="72"/>
                  </a:cubicBezTo>
                  <a:cubicBezTo>
                    <a:pt x="39" y="74"/>
                    <a:pt x="39" y="74"/>
                    <a:pt x="34" y="74"/>
                  </a:cubicBezTo>
                  <a:cubicBezTo>
                    <a:pt x="31" y="74"/>
                    <a:pt x="28" y="74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  <p:sp>
          <p:nvSpPr>
            <p:cNvPr id="420" name="Тамбовская область">
              <a:extLst>
                <a:ext uri="{FF2B5EF4-FFF2-40B4-BE49-F238E27FC236}">
                  <a16:creationId xmlns="" xmlns:a16="http://schemas.microsoft.com/office/drawing/2014/main" id="{00000000-0008-0000-0300-00007F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8864" y="5935807"/>
              <a:ext cx="401322" cy="414683"/>
            </a:xfrm>
            <a:custGeom>
              <a:avLst/>
              <a:gdLst/>
              <a:ahLst/>
              <a:cxnLst>
                <a:cxn ang="0">
                  <a:pos x="164" y="651"/>
                </a:cxn>
                <a:cxn ang="0">
                  <a:pos x="8" y="443"/>
                </a:cxn>
                <a:cxn ang="0">
                  <a:pos x="40" y="391"/>
                </a:cxn>
                <a:cxn ang="0">
                  <a:pos x="76" y="255"/>
                </a:cxn>
                <a:cxn ang="0">
                  <a:pos x="80" y="123"/>
                </a:cxn>
                <a:cxn ang="0">
                  <a:pos x="305" y="0"/>
                </a:cxn>
                <a:cxn ang="0">
                  <a:pos x="385" y="40"/>
                </a:cxn>
                <a:cxn ang="0">
                  <a:pos x="504" y="61"/>
                </a:cxn>
                <a:cxn ang="0">
                  <a:pos x="611" y="79"/>
                </a:cxn>
                <a:cxn ang="0">
                  <a:pos x="646" y="114"/>
                </a:cxn>
                <a:cxn ang="0">
                  <a:pos x="601" y="146"/>
                </a:cxn>
                <a:cxn ang="0">
                  <a:pos x="556" y="179"/>
                </a:cxn>
                <a:cxn ang="0">
                  <a:pos x="579" y="557"/>
                </a:cxn>
                <a:cxn ang="0">
                  <a:pos x="417" y="639"/>
                </a:cxn>
                <a:cxn ang="0">
                  <a:pos x="241" y="720"/>
                </a:cxn>
                <a:cxn ang="0">
                  <a:pos x="164" y="651"/>
                </a:cxn>
              </a:cxnLst>
              <a:rect l="0" t="0" r="r" b="b"/>
              <a:pathLst>
                <a:path w="646" h="720">
                  <a:moveTo>
                    <a:pt x="164" y="651"/>
                  </a:moveTo>
                  <a:cubicBezTo>
                    <a:pt x="46" y="523"/>
                    <a:pt x="19" y="488"/>
                    <a:pt x="8" y="443"/>
                  </a:cubicBezTo>
                  <a:cubicBezTo>
                    <a:pt x="0" y="407"/>
                    <a:pt x="3" y="399"/>
                    <a:pt x="40" y="391"/>
                  </a:cubicBezTo>
                  <a:cubicBezTo>
                    <a:pt x="80" y="379"/>
                    <a:pt x="80" y="378"/>
                    <a:pt x="76" y="255"/>
                  </a:cubicBezTo>
                  <a:cubicBezTo>
                    <a:pt x="73" y="186"/>
                    <a:pt x="75" y="127"/>
                    <a:pt x="80" y="123"/>
                  </a:cubicBezTo>
                  <a:cubicBezTo>
                    <a:pt x="195" y="29"/>
                    <a:pt x="249" y="0"/>
                    <a:pt x="305" y="0"/>
                  </a:cubicBezTo>
                  <a:cubicBezTo>
                    <a:pt x="355" y="0"/>
                    <a:pt x="371" y="7"/>
                    <a:pt x="385" y="40"/>
                  </a:cubicBezTo>
                  <a:cubicBezTo>
                    <a:pt x="406" y="85"/>
                    <a:pt x="408" y="87"/>
                    <a:pt x="504" y="61"/>
                  </a:cubicBezTo>
                  <a:cubicBezTo>
                    <a:pt x="571" y="45"/>
                    <a:pt x="580" y="47"/>
                    <a:pt x="611" y="79"/>
                  </a:cubicBezTo>
                  <a:lnTo>
                    <a:pt x="646" y="114"/>
                  </a:lnTo>
                  <a:lnTo>
                    <a:pt x="601" y="146"/>
                  </a:lnTo>
                  <a:lnTo>
                    <a:pt x="556" y="179"/>
                  </a:lnTo>
                  <a:lnTo>
                    <a:pt x="579" y="557"/>
                  </a:lnTo>
                  <a:lnTo>
                    <a:pt x="417" y="639"/>
                  </a:lnTo>
                  <a:cubicBezTo>
                    <a:pt x="328" y="683"/>
                    <a:pt x="249" y="720"/>
                    <a:pt x="241" y="720"/>
                  </a:cubicBezTo>
                  <a:cubicBezTo>
                    <a:pt x="235" y="720"/>
                    <a:pt x="200" y="690"/>
                    <a:pt x="164" y="651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21" name="Тверская область">
              <a:extLst>
                <a:ext uri="{FF2B5EF4-FFF2-40B4-BE49-F238E27FC236}">
                  <a16:creationId xmlns="" xmlns:a16="http://schemas.microsoft.com/office/drawing/2014/main" id="{00000000-0008-0000-0300-000080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972" y="4599607"/>
              <a:ext cx="963172" cy="598986"/>
            </a:xfrm>
            <a:custGeom>
              <a:avLst/>
              <a:gdLst/>
              <a:ahLst/>
              <a:cxnLst>
                <a:cxn ang="0">
                  <a:pos x="1166" y="1007"/>
                </a:cxn>
                <a:cxn ang="0">
                  <a:pos x="973" y="943"/>
                </a:cxn>
                <a:cxn ang="0">
                  <a:pos x="778" y="858"/>
                </a:cxn>
                <a:cxn ang="0">
                  <a:pos x="661" y="813"/>
                </a:cxn>
                <a:cxn ang="0">
                  <a:pos x="570" y="831"/>
                </a:cxn>
                <a:cxn ang="0">
                  <a:pos x="475" y="741"/>
                </a:cxn>
                <a:cxn ang="0">
                  <a:pos x="400" y="645"/>
                </a:cxn>
                <a:cxn ang="0">
                  <a:pos x="293" y="645"/>
                </a:cxn>
                <a:cxn ang="0">
                  <a:pos x="166" y="632"/>
                </a:cxn>
                <a:cxn ang="0">
                  <a:pos x="0" y="364"/>
                </a:cxn>
                <a:cxn ang="0">
                  <a:pos x="48" y="325"/>
                </a:cxn>
                <a:cxn ang="0">
                  <a:pos x="136" y="173"/>
                </a:cxn>
                <a:cxn ang="0">
                  <a:pos x="243" y="72"/>
                </a:cxn>
                <a:cxn ang="0">
                  <a:pos x="426" y="141"/>
                </a:cxn>
                <a:cxn ang="0">
                  <a:pos x="635" y="197"/>
                </a:cxn>
                <a:cxn ang="0">
                  <a:pos x="794" y="173"/>
                </a:cxn>
                <a:cxn ang="0">
                  <a:pos x="901" y="127"/>
                </a:cxn>
                <a:cxn ang="0">
                  <a:pos x="994" y="226"/>
                </a:cxn>
                <a:cxn ang="0">
                  <a:pos x="1118" y="309"/>
                </a:cxn>
                <a:cxn ang="0">
                  <a:pos x="1275" y="341"/>
                </a:cxn>
                <a:cxn ang="0">
                  <a:pos x="1426" y="389"/>
                </a:cxn>
                <a:cxn ang="0">
                  <a:pos x="1510" y="428"/>
                </a:cxn>
                <a:cxn ang="0">
                  <a:pos x="1411" y="626"/>
                </a:cxn>
                <a:cxn ang="0">
                  <a:pos x="1294" y="903"/>
                </a:cxn>
                <a:cxn ang="0">
                  <a:pos x="1272" y="989"/>
                </a:cxn>
                <a:cxn ang="0">
                  <a:pos x="1219" y="1044"/>
                </a:cxn>
                <a:cxn ang="0">
                  <a:pos x="1166" y="1007"/>
                </a:cxn>
              </a:cxnLst>
              <a:rect l="0" t="0" r="r" b="b"/>
              <a:pathLst>
                <a:path w="1525" h="1045">
                  <a:moveTo>
                    <a:pt x="1166" y="1007"/>
                  </a:moveTo>
                  <a:cubicBezTo>
                    <a:pt x="1136" y="980"/>
                    <a:pt x="1082" y="962"/>
                    <a:pt x="973" y="943"/>
                  </a:cubicBezTo>
                  <a:cubicBezTo>
                    <a:pt x="834" y="917"/>
                    <a:pt x="819" y="911"/>
                    <a:pt x="778" y="858"/>
                  </a:cubicBezTo>
                  <a:cubicBezTo>
                    <a:pt x="734" y="804"/>
                    <a:pt x="730" y="802"/>
                    <a:pt x="661" y="813"/>
                  </a:cubicBezTo>
                  <a:cubicBezTo>
                    <a:pt x="621" y="818"/>
                    <a:pt x="579" y="826"/>
                    <a:pt x="570" y="831"/>
                  </a:cubicBezTo>
                  <a:cubicBezTo>
                    <a:pt x="558" y="834"/>
                    <a:pt x="517" y="794"/>
                    <a:pt x="475" y="741"/>
                  </a:cubicBezTo>
                  <a:lnTo>
                    <a:pt x="400" y="645"/>
                  </a:lnTo>
                  <a:lnTo>
                    <a:pt x="293" y="645"/>
                  </a:lnTo>
                  <a:cubicBezTo>
                    <a:pt x="232" y="644"/>
                    <a:pt x="176" y="639"/>
                    <a:pt x="166" y="632"/>
                  </a:cubicBezTo>
                  <a:cubicBezTo>
                    <a:pt x="142" y="616"/>
                    <a:pt x="0" y="386"/>
                    <a:pt x="0" y="364"/>
                  </a:cubicBezTo>
                  <a:cubicBezTo>
                    <a:pt x="0" y="352"/>
                    <a:pt x="22" y="335"/>
                    <a:pt x="48" y="325"/>
                  </a:cubicBezTo>
                  <a:cubicBezTo>
                    <a:pt x="107" y="300"/>
                    <a:pt x="120" y="277"/>
                    <a:pt x="136" y="173"/>
                  </a:cubicBezTo>
                  <a:cubicBezTo>
                    <a:pt x="155" y="37"/>
                    <a:pt x="195" y="0"/>
                    <a:pt x="243" y="72"/>
                  </a:cubicBezTo>
                  <a:cubicBezTo>
                    <a:pt x="261" y="100"/>
                    <a:pt x="304" y="116"/>
                    <a:pt x="426" y="141"/>
                  </a:cubicBezTo>
                  <a:cubicBezTo>
                    <a:pt x="512" y="160"/>
                    <a:pt x="606" y="186"/>
                    <a:pt x="635" y="197"/>
                  </a:cubicBezTo>
                  <a:cubicBezTo>
                    <a:pt x="680" y="216"/>
                    <a:pt x="696" y="215"/>
                    <a:pt x="794" y="173"/>
                  </a:cubicBezTo>
                  <a:lnTo>
                    <a:pt x="901" y="127"/>
                  </a:lnTo>
                  <a:lnTo>
                    <a:pt x="994" y="226"/>
                  </a:lnTo>
                  <a:cubicBezTo>
                    <a:pt x="1074" y="312"/>
                    <a:pt x="1091" y="324"/>
                    <a:pt x="1118" y="309"/>
                  </a:cubicBezTo>
                  <a:cubicBezTo>
                    <a:pt x="1166" y="284"/>
                    <a:pt x="1194" y="288"/>
                    <a:pt x="1275" y="341"/>
                  </a:cubicBezTo>
                  <a:cubicBezTo>
                    <a:pt x="1331" y="376"/>
                    <a:pt x="1370" y="389"/>
                    <a:pt x="1426" y="389"/>
                  </a:cubicBezTo>
                  <a:cubicBezTo>
                    <a:pt x="1491" y="389"/>
                    <a:pt x="1502" y="394"/>
                    <a:pt x="1510" y="428"/>
                  </a:cubicBezTo>
                  <a:cubicBezTo>
                    <a:pt x="1525" y="485"/>
                    <a:pt x="1496" y="543"/>
                    <a:pt x="1411" y="626"/>
                  </a:cubicBezTo>
                  <a:cubicBezTo>
                    <a:pt x="1317" y="717"/>
                    <a:pt x="1261" y="850"/>
                    <a:pt x="1294" y="903"/>
                  </a:cubicBezTo>
                  <a:cubicBezTo>
                    <a:pt x="1312" y="932"/>
                    <a:pt x="1309" y="943"/>
                    <a:pt x="1272" y="989"/>
                  </a:cubicBezTo>
                  <a:cubicBezTo>
                    <a:pt x="1250" y="1020"/>
                    <a:pt x="1226" y="1045"/>
                    <a:pt x="1219" y="1044"/>
                  </a:cubicBezTo>
                  <a:cubicBezTo>
                    <a:pt x="1213" y="1044"/>
                    <a:pt x="1189" y="1028"/>
                    <a:pt x="1166" y="1007"/>
                  </a:cubicBezTo>
                  <a:close/>
                </a:path>
              </a:pathLst>
            </a:custGeom>
            <a:solidFill>
              <a:srgbClr val="5B93D7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22" name="Томская область">
              <a:extLst>
                <a:ext uri="{FF2B5EF4-FFF2-40B4-BE49-F238E27FC236}">
                  <a16:creationId xmlns="" xmlns:a16="http://schemas.microsoft.com/office/drawing/2014/main" id="{00000000-0008-0000-0300-000081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04130" y="6387351"/>
              <a:ext cx="1685551" cy="1115036"/>
            </a:xfrm>
            <a:custGeom>
              <a:avLst/>
              <a:gdLst/>
              <a:ahLst/>
              <a:cxnLst>
                <a:cxn ang="0">
                  <a:pos x="1455" y="1803"/>
                </a:cxn>
                <a:cxn ang="0">
                  <a:pos x="1431" y="1672"/>
                </a:cxn>
                <a:cxn ang="0">
                  <a:pos x="1279" y="1672"/>
                </a:cxn>
                <a:cxn ang="0">
                  <a:pos x="1103" y="1653"/>
                </a:cxn>
                <a:cxn ang="0">
                  <a:pos x="980" y="1623"/>
                </a:cxn>
                <a:cxn ang="0">
                  <a:pos x="800" y="1501"/>
                </a:cxn>
                <a:cxn ang="0">
                  <a:pos x="400" y="1288"/>
                </a:cxn>
                <a:cxn ang="0">
                  <a:pos x="148" y="1216"/>
                </a:cxn>
                <a:cxn ang="0">
                  <a:pos x="63" y="1029"/>
                </a:cxn>
                <a:cxn ang="0">
                  <a:pos x="18" y="770"/>
                </a:cxn>
                <a:cxn ang="0">
                  <a:pos x="143" y="560"/>
                </a:cxn>
                <a:cxn ang="0">
                  <a:pos x="314" y="432"/>
                </a:cxn>
                <a:cxn ang="0">
                  <a:pos x="399" y="410"/>
                </a:cxn>
                <a:cxn ang="0">
                  <a:pos x="488" y="200"/>
                </a:cxn>
                <a:cxn ang="0">
                  <a:pos x="567" y="3"/>
                </a:cxn>
                <a:cxn ang="0">
                  <a:pos x="720" y="8"/>
                </a:cxn>
                <a:cxn ang="0">
                  <a:pos x="890" y="66"/>
                </a:cxn>
                <a:cxn ang="0">
                  <a:pos x="914" y="112"/>
                </a:cxn>
                <a:cxn ang="0">
                  <a:pos x="1045" y="101"/>
                </a:cxn>
                <a:cxn ang="0">
                  <a:pos x="1292" y="149"/>
                </a:cxn>
                <a:cxn ang="0">
                  <a:pos x="1429" y="208"/>
                </a:cxn>
                <a:cxn ang="0">
                  <a:pos x="1562" y="136"/>
                </a:cxn>
                <a:cxn ang="0">
                  <a:pos x="1700" y="82"/>
                </a:cxn>
                <a:cxn ang="0">
                  <a:pos x="1728" y="112"/>
                </a:cxn>
                <a:cxn ang="0">
                  <a:pos x="1767" y="143"/>
                </a:cxn>
                <a:cxn ang="0">
                  <a:pos x="1839" y="232"/>
                </a:cxn>
                <a:cxn ang="0">
                  <a:pos x="1872" y="307"/>
                </a:cxn>
                <a:cxn ang="0">
                  <a:pos x="1840" y="352"/>
                </a:cxn>
                <a:cxn ang="0">
                  <a:pos x="1831" y="445"/>
                </a:cxn>
                <a:cxn ang="0">
                  <a:pos x="2119" y="522"/>
                </a:cxn>
                <a:cxn ang="0">
                  <a:pos x="2311" y="605"/>
                </a:cxn>
                <a:cxn ang="0">
                  <a:pos x="2504" y="752"/>
                </a:cxn>
                <a:cxn ang="0">
                  <a:pos x="2576" y="792"/>
                </a:cxn>
                <a:cxn ang="0">
                  <a:pos x="2514" y="911"/>
                </a:cxn>
                <a:cxn ang="0">
                  <a:pos x="2416" y="1114"/>
                </a:cxn>
                <a:cxn ang="0">
                  <a:pos x="2485" y="1184"/>
                </a:cxn>
                <a:cxn ang="0">
                  <a:pos x="2685" y="1266"/>
                </a:cxn>
                <a:cxn ang="0">
                  <a:pos x="2616" y="1391"/>
                </a:cxn>
                <a:cxn ang="0">
                  <a:pos x="2551" y="1541"/>
                </a:cxn>
                <a:cxn ang="0">
                  <a:pos x="2317" y="1667"/>
                </a:cxn>
                <a:cxn ang="0">
                  <a:pos x="2031" y="1736"/>
                </a:cxn>
                <a:cxn ang="0">
                  <a:pos x="1818" y="1813"/>
                </a:cxn>
                <a:cxn ang="0">
                  <a:pos x="1602" y="1887"/>
                </a:cxn>
                <a:cxn ang="0">
                  <a:pos x="1492" y="1936"/>
                </a:cxn>
                <a:cxn ang="0">
                  <a:pos x="1455" y="1803"/>
                </a:cxn>
              </a:cxnLst>
              <a:rect l="0" t="0" r="r" b="b"/>
              <a:pathLst>
                <a:path w="2688" h="1936">
                  <a:moveTo>
                    <a:pt x="1455" y="1803"/>
                  </a:moveTo>
                  <a:lnTo>
                    <a:pt x="1431" y="1672"/>
                  </a:lnTo>
                  <a:lnTo>
                    <a:pt x="1279" y="1672"/>
                  </a:lnTo>
                  <a:cubicBezTo>
                    <a:pt x="1186" y="1672"/>
                    <a:pt x="1117" y="1664"/>
                    <a:pt x="1103" y="1653"/>
                  </a:cubicBezTo>
                  <a:cubicBezTo>
                    <a:pt x="1090" y="1643"/>
                    <a:pt x="1034" y="1629"/>
                    <a:pt x="980" y="1623"/>
                  </a:cubicBezTo>
                  <a:cubicBezTo>
                    <a:pt x="869" y="1610"/>
                    <a:pt x="869" y="1610"/>
                    <a:pt x="800" y="1501"/>
                  </a:cubicBezTo>
                  <a:cubicBezTo>
                    <a:pt x="735" y="1395"/>
                    <a:pt x="666" y="1359"/>
                    <a:pt x="400" y="1288"/>
                  </a:cubicBezTo>
                  <a:cubicBezTo>
                    <a:pt x="272" y="1255"/>
                    <a:pt x="160" y="1223"/>
                    <a:pt x="148" y="1216"/>
                  </a:cubicBezTo>
                  <a:cubicBezTo>
                    <a:pt x="135" y="1210"/>
                    <a:pt x="96" y="1125"/>
                    <a:pt x="63" y="1029"/>
                  </a:cubicBezTo>
                  <a:cubicBezTo>
                    <a:pt x="2" y="864"/>
                    <a:pt x="0" y="851"/>
                    <a:pt x="18" y="770"/>
                  </a:cubicBezTo>
                  <a:cubicBezTo>
                    <a:pt x="34" y="703"/>
                    <a:pt x="58" y="661"/>
                    <a:pt x="143" y="560"/>
                  </a:cubicBezTo>
                  <a:cubicBezTo>
                    <a:pt x="242" y="440"/>
                    <a:pt x="252" y="434"/>
                    <a:pt x="314" y="432"/>
                  </a:cubicBezTo>
                  <a:cubicBezTo>
                    <a:pt x="351" y="432"/>
                    <a:pt x="389" y="423"/>
                    <a:pt x="399" y="410"/>
                  </a:cubicBezTo>
                  <a:cubicBezTo>
                    <a:pt x="408" y="399"/>
                    <a:pt x="448" y="304"/>
                    <a:pt x="488" y="200"/>
                  </a:cubicBezTo>
                  <a:cubicBezTo>
                    <a:pt x="527" y="96"/>
                    <a:pt x="564" y="8"/>
                    <a:pt x="567" y="3"/>
                  </a:cubicBezTo>
                  <a:cubicBezTo>
                    <a:pt x="570" y="0"/>
                    <a:pt x="639" y="2"/>
                    <a:pt x="720" y="8"/>
                  </a:cubicBezTo>
                  <a:cubicBezTo>
                    <a:pt x="860" y="19"/>
                    <a:pt x="868" y="23"/>
                    <a:pt x="890" y="66"/>
                  </a:cubicBezTo>
                  <a:lnTo>
                    <a:pt x="914" y="112"/>
                  </a:lnTo>
                  <a:lnTo>
                    <a:pt x="1045" y="101"/>
                  </a:lnTo>
                  <a:cubicBezTo>
                    <a:pt x="1173" y="91"/>
                    <a:pt x="1180" y="93"/>
                    <a:pt x="1292" y="149"/>
                  </a:cubicBezTo>
                  <a:cubicBezTo>
                    <a:pt x="1356" y="181"/>
                    <a:pt x="1418" y="208"/>
                    <a:pt x="1429" y="208"/>
                  </a:cubicBezTo>
                  <a:cubicBezTo>
                    <a:pt x="1442" y="208"/>
                    <a:pt x="1501" y="176"/>
                    <a:pt x="1562" y="136"/>
                  </a:cubicBezTo>
                  <a:cubicBezTo>
                    <a:pt x="1647" y="82"/>
                    <a:pt x="1677" y="69"/>
                    <a:pt x="1700" y="82"/>
                  </a:cubicBezTo>
                  <a:cubicBezTo>
                    <a:pt x="1716" y="90"/>
                    <a:pt x="1728" y="104"/>
                    <a:pt x="1728" y="112"/>
                  </a:cubicBezTo>
                  <a:cubicBezTo>
                    <a:pt x="1728" y="122"/>
                    <a:pt x="1746" y="135"/>
                    <a:pt x="1767" y="143"/>
                  </a:cubicBezTo>
                  <a:cubicBezTo>
                    <a:pt x="1791" y="152"/>
                    <a:pt x="1820" y="186"/>
                    <a:pt x="1839" y="232"/>
                  </a:cubicBezTo>
                  <a:lnTo>
                    <a:pt x="1872" y="307"/>
                  </a:lnTo>
                  <a:lnTo>
                    <a:pt x="1840" y="352"/>
                  </a:lnTo>
                  <a:cubicBezTo>
                    <a:pt x="1810" y="395"/>
                    <a:pt x="1808" y="402"/>
                    <a:pt x="1831" y="445"/>
                  </a:cubicBezTo>
                  <a:cubicBezTo>
                    <a:pt x="1858" y="496"/>
                    <a:pt x="1872" y="499"/>
                    <a:pt x="2119" y="522"/>
                  </a:cubicBezTo>
                  <a:cubicBezTo>
                    <a:pt x="2245" y="531"/>
                    <a:pt x="2247" y="533"/>
                    <a:pt x="2311" y="605"/>
                  </a:cubicBezTo>
                  <a:cubicBezTo>
                    <a:pt x="2437" y="746"/>
                    <a:pt x="2445" y="752"/>
                    <a:pt x="2504" y="752"/>
                  </a:cubicBezTo>
                  <a:cubicBezTo>
                    <a:pt x="2551" y="752"/>
                    <a:pt x="2564" y="759"/>
                    <a:pt x="2576" y="792"/>
                  </a:cubicBezTo>
                  <a:cubicBezTo>
                    <a:pt x="2600" y="855"/>
                    <a:pt x="2599" y="856"/>
                    <a:pt x="2514" y="911"/>
                  </a:cubicBezTo>
                  <a:cubicBezTo>
                    <a:pt x="2432" y="963"/>
                    <a:pt x="2416" y="997"/>
                    <a:pt x="2416" y="1114"/>
                  </a:cubicBezTo>
                  <a:cubicBezTo>
                    <a:pt x="2416" y="1162"/>
                    <a:pt x="2421" y="1168"/>
                    <a:pt x="2485" y="1184"/>
                  </a:cubicBezTo>
                  <a:cubicBezTo>
                    <a:pt x="2642" y="1227"/>
                    <a:pt x="2680" y="1243"/>
                    <a:pt x="2685" y="1266"/>
                  </a:cubicBezTo>
                  <a:cubicBezTo>
                    <a:pt x="2688" y="1280"/>
                    <a:pt x="2656" y="1336"/>
                    <a:pt x="2616" y="1391"/>
                  </a:cubicBezTo>
                  <a:cubicBezTo>
                    <a:pt x="2554" y="1475"/>
                    <a:pt x="2543" y="1499"/>
                    <a:pt x="2551" y="1541"/>
                  </a:cubicBezTo>
                  <a:cubicBezTo>
                    <a:pt x="2567" y="1634"/>
                    <a:pt x="2538" y="1650"/>
                    <a:pt x="2317" y="1667"/>
                  </a:cubicBezTo>
                  <a:cubicBezTo>
                    <a:pt x="2140" y="1682"/>
                    <a:pt x="2112" y="1688"/>
                    <a:pt x="2031" y="1736"/>
                  </a:cubicBezTo>
                  <a:cubicBezTo>
                    <a:pt x="1978" y="1767"/>
                    <a:pt x="1888" y="1799"/>
                    <a:pt x="1818" y="1813"/>
                  </a:cubicBezTo>
                  <a:cubicBezTo>
                    <a:pt x="1752" y="1827"/>
                    <a:pt x="1655" y="1861"/>
                    <a:pt x="1602" y="1887"/>
                  </a:cubicBezTo>
                  <a:cubicBezTo>
                    <a:pt x="1549" y="1914"/>
                    <a:pt x="1500" y="1936"/>
                    <a:pt x="1492" y="1936"/>
                  </a:cubicBezTo>
                  <a:cubicBezTo>
                    <a:pt x="1484" y="1936"/>
                    <a:pt x="1468" y="1877"/>
                    <a:pt x="1455" y="1803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23" name="Тульская область">
              <a:extLst>
                <a:ext uri="{FF2B5EF4-FFF2-40B4-BE49-F238E27FC236}">
                  <a16:creationId xmlns="" xmlns:a16="http://schemas.microsoft.com/office/drawing/2014/main" id="{00000000-0008-0000-0300-000082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8203" y="5447403"/>
              <a:ext cx="341123" cy="350177"/>
            </a:xfrm>
            <a:custGeom>
              <a:avLst/>
              <a:gdLst/>
              <a:ahLst/>
              <a:cxnLst>
                <a:cxn ang="0">
                  <a:pos x="155" y="559"/>
                </a:cxn>
                <a:cxn ang="0">
                  <a:pos x="117" y="512"/>
                </a:cxn>
                <a:cxn ang="0">
                  <a:pos x="104" y="456"/>
                </a:cxn>
                <a:cxn ang="0">
                  <a:pos x="54" y="344"/>
                </a:cxn>
                <a:cxn ang="0">
                  <a:pos x="2" y="195"/>
                </a:cxn>
                <a:cxn ang="0">
                  <a:pos x="0" y="106"/>
                </a:cxn>
                <a:cxn ang="0">
                  <a:pos x="144" y="16"/>
                </a:cxn>
                <a:cxn ang="0">
                  <a:pos x="238" y="43"/>
                </a:cxn>
                <a:cxn ang="0">
                  <a:pos x="392" y="35"/>
                </a:cxn>
                <a:cxn ang="0">
                  <a:pos x="453" y="0"/>
                </a:cxn>
                <a:cxn ang="0">
                  <a:pos x="498" y="101"/>
                </a:cxn>
                <a:cxn ang="0">
                  <a:pos x="517" y="299"/>
                </a:cxn>
                <a:cxn ang="0">
                  <a:pos x="274" y="575"/>
                </a:cxn>
                <a:cxn ang="0">
                  <a:pos x="182" y="607"/>
                </a:cxn>
                <a:cxn ang="0">
                  <a:pos x="155" y="559"/>
                </a:cxn>
              </a:cxnLst>
              <a:rect l="0" t="0" r="r" b="b"/>
              <a:pathLst>
                <a:path w="549" h="607">
                  <a:moveTo>
                    <a:pt x="155" y="559"/>
                  </a:moveTo>
                  <a:cubicBezTo>
                    <a:pt x="141" y="533"/>
                    <a:pt x="123" y="512"/>
                    <a:pt x="117" y="512"/>
                  </a:cubicBezTo>
                  <a:cubicBezTo>
                    <a:pt x="109" y="512"/>
                    <a:pt x="104" y="487"/>
                    <a:pt x="104" y="456"/>
                  </a:cubicBezTo>
                  <a:cubicBezTo>
                    <a:pt x="104" y="416"/>
                    <a:pt x="90" y="384"/>
                    <a:pt x="54" y="344"/>
                  </a:cubicBezTo>
                  <a:cubicBezTo>
                    <a:pt x="11" y="295"/>
                    <a:pt x="3" y="274"/>
                    <a:pt x="2" y="195"/>
                  </a:cubicBezTo>
                  <a:lnTo>
                    <a:pt x="0" y="106"/>
                  </a:lnTo>
                  <a:lnTo>
                    <a:pt x="144" y="16"/>
                  </a:lnTo>
                  <a:lnTo>
                    <a:pt x="238" y="43"/>
                  </a:lnTo>
                  <a:cubicBezTo>
                    <a:pt x="331" y="69"/>
                    <a:pt x="334" y="69"/>
                    <a:pt x="392" y="35"/>
                  </a:cubicBezTo>
                  <a:lnTo>
                    <a:pt x="453" y="0"/>
                  </a:lnTo>
                  <a:lnTo>
                    <a:pt x="498" y="101"/>
                  </a:lnTo>
                  <a:cubicBezTo>
                    <a:pt x="549" y="216"/>
                    <a:pt x="549" y="219"/>
                    <a:pt x="517" y="299"/>
                  </a:cubicBezTo>
                  <a:cubicBezTo>
                    <a:pt x="422" y="528"/>
                    <a:pt x="427" y="522"/>
                    <a:pt x="274" y="575"/>
                  </a:cubicBezTo>
                  <a:lnTo>
                    <a:pt x="182" y="607"/>
                  </a:lnTo>
                  <a:lnTo>
                    <a:pt x="155" y="559"/>
                  </a:ln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24" name="Тюменская область">
              <a:extLst>
                <a:ext uri="{FF2B5EF4-FFF2-40B4-BE49-F238E27FC236}">
                  <a16:creationId xmlns="" xmlns:a16="http://schemas.microsoft.com/office/drawing/2014/main" id="{00000000-0008-0000-0300-000083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834" y="6332060"/>
              <a:ext cx="1284229" cy="967594"/>
            </a:xfrm>
            <a:custGeom>
              <a:avLst/>
              <a:gdLst/>
              <a:ahLst/>
              <a:cxnLst>
                <a:cxn ang="0">
                  <a:pos x="704" y="1627"/>
                </a:cxn>
                <a:cxn ang="0">
                  <a:pos x="537" y="1525"/>
                </a:cxn>
                <a:cxn ang="0">
                  <a:pos x="459" y="1423"/>
                </a:cxn>
                <a:cxn ang="0">
                  <a:pos x="376" y="1331"/>
                </a:cxn>
                <a:cxn ang="0">
                  <a:pos x="168" y="1194"/>
                </a:cxn>
                <a:cxn ang="0">
                  <a:pos x="59" y="1087"/>
                </a:cxn>
                <a:cxn ang="0">
                  <a:pos x="43" y="891"/>
                </a:cxn>
                <a:cxn ang="0">
                  <a:pos x="75" y="768"/>
                </a:cxn>
                <a:cxn ang="0">
                  <a:pos x="115" y="608"/>
                </a:cxn>
                <a:cxn ang="0">
                  <a:pos x="363" y="507"/>
                </a:cxn>
                <a:cxn ang="0">
                  <a:pos x="435" y="504"/>
                </a:cxn>
                <a:cxn ang="0">
                  <a:pos x="440" y="419"/>
                </a:cxn>
                <a:cxn ang="0">
                  <a:pos x="486" y="336"/>
                </a:cxn>
                <a:cxn ang="0">
                  <a:pos x="593" y="306"/>
                </a:cxn>
                <a:cxn ang="0">
                  <a:pos x="801" y="240"/>
                </a:cxn>
                <a:cxn ang="0">
                  <a:pos x="1133" y="43"/>
                </a:cxn>
                <a:cxn ang="0">
                  <a:pos x="1168" y="0"/>
                </a:cxn>
                <a:cxn ang="0">
                  <a:pos x="1339" y="87"/>
                </a:cxn>
                <a:cxn ang="0">
                  <a:pos x="1584" y="323"/>
                </a:cxn>
                <a:cxn ang="0">
                  <a:pos x="1705" y="546"/>
                </a:cxn>
                <a:cxn ang="0">
                  <a:pos x="1886" y="671"/>
                </a:cxn>
                <a:cxn ang="0">
                  <a:pos x="2049" y="736"/>
                </a:cxn>
                <a:cxn ang="0">
                  <a:pos x="1977" y="805"/>
                </a:cxn>
                <a:cxn ang="0">
                  <a:pos x="1779" y="845"/>
                </a:cxn>
                <a:cxn ang="0">
                  <a:pos x="1432" y="783"/>
                </a:cxn>
                <a:cxn ang="0">
                  <a:pos x="1337" y="671"/>
                </a:cxn>
                <a:cxn ang="0">
                  <a:pos x="1275" y="576"/>
                </a:cxn>
                <a:cxn ang="0">
                  <a:pos x="1169" y="699"/>
                </a:cxn>
                <a:cxn ang="0">
                  <a:pos x="1091" y="933"/>
                </a:cxn>
                <a:cxn ang="0">
                  <a:pos x="1173" y="1072"/>
                </a:cxn>
                <a:cxn ang="0">
                  <a:pos x="1251" y="1194"/>
                </a:cxn>
                <a:cxn ang="0">
                  <a:pos x="1262" y="1274"/>
                </a:cxn>
                <a:cxn ang="0">
                  <a:pos x="1173" y="1295"/>
                </a:cxn>
                <a:cxn ang="0">
                  <a:pos x="1081" y="1314"/>
                </a:cxn>
                <a:cxn ang="0">
                  <a:pos x="990" y="1498"/>
                </a:cxn>
                <a:cxn ang="0">
                  <a:pos x="875" y="1679"/>
                </a:cxn>
                <a:cxn ang="0">
                  <a:pos x="704" y="1627"/>
                </a:cxn>
              </a:cxnLst>
              <a:rect l="0" t="0" r="r" b="b"/>
              <a:pathLst>
                <a:path w="2056" h="1679">
                  <a:moveTo>
                    <a:pt x="704" y="1627"/>
                  </a:moveTo>
                  <a:cubicBezTo>
                    <a:pt x="568" y="1581"/>
                    <a:pt x="553" y="1573"/>
                    <a:pt x="537" y="1525"/>
                  </a:cubicBezTo>
                  <a:cubicBezTo>
                    <a:pt x="529" y="1496"/>
                    <a:pt x="493" y="1450"/>
                    <a:pt x="459" y="1423"/>
                  </a:cubicBezTo>
                  <a:cubicBezTo>
                    <a:pt x="424" y="1395"/>
                    <a:pt x="387" y="1354"/>
                    <a:pt x="376" y="1331"/>
                  </a:cubicBezTo>
                  <a:cubicBezTo>
                    <a:pt x="349" y="1275"/>
                    <a:pt x="243" y="1205"/>
                    <a:pt x="168" y="1194"/>
                  </a:cubicBezTo>
                  <a:cubicBezTo>
                    <a:pt x="113" y="1184"/>
                    <a:pt x="104" y="1175"/>
                    <a:pt x="59" y="1087"/>
                  </a:cubicBezTo>
                  <a:cubicBezTo>
                    <a:pt x="3" y="971"/>
                    <a:pt x="0" y="946"/>
                    <a:pt x="43" y="891"/>
                  </a:cubicBezTo>
                  <a:cubicBezTo>
                    <a:pt x="65" y="863"/>
                    <a:pt x="75" y="826"/>
                    <a:pt x="75" y="768"/>
                  </a:cubicBezTo>
                  <a:cubicBezTo>
                    <a:pt x="75" y="714"/>
                    <a:pt x="88" y="661"/>
                    <a:pt x="115" y="608"/>
                  </a:cubicBezTo>
                  <a:cubicBezTo>
                    <a:pt x="158" y="523"/>
                    <a:pt x="171" y="519"/>
                    <a:pt x="363" y="507"/>
                  </a:cubicBezTo>
                  <a:lnTo>
                    <a:pt x="435" y="504"/>
                  </a:lnTo>
                  <a:lnTo>
                    <a:pt x="440" y="419"/>
                  </a:lnTo>
                  <a:cubicBezTo>
                    <a:pt x="445" y="341"/>
                    <a:pt x="448" y="336"/>
                    <a:pt x="486" y="336"/>
                  </a:cubicBezTo>
                  <a:cubicBezTo>
                    <a:pt x="510" y="336"/>
                    <a:pt x="558" y="322"/>
                    <a:pt x="593" y="306"/>
                  </a:cubicBezTo>
                  <a:cubicBezTo>
                    <a:pt x="630" y="288"/>
                    <a:pt x="723" y="259"/>
                    <a:pt x="801" y="240"/>
                  </a:cubicBezTo>
                  <a:cubicBezTo>
                    <a:pt x="961" y="202"/>
                    <a:pt x="1101" y="119"/>
                    <a:pt x="1133" y="43"/>
                  </a:cubicBezTo>
                  <a:cubicBezTo>
                    <a:pt x="1142" y="19"/>
                    <a:pt x="1158" y="0"/>
                    <a:pt x="1168" y="0"/>
                  </a:cubicBezTo>
                  <a:cubicBezTo>
                    <a:pt x="1177" y="0"/>
                    <a:pt x="1254" y="39"/>
                    <a:pt x="1339" y="87"/>
                  </a:cubicBezTo>
                  <a:cubicBezTo>
                    <a:pt x="1493" y="175"/>
                    <a:pt x="1494" y="176"/>
                    <a:pt x="1584" y="323"/>
                  </a:cubicBezTo>
                  <a:cubicBezTo>
                    <a:pt x="1633" y="405"/>
                    <a:pt x="1688" y="504"/>
                    <a:pt x="1705" y="546"/>
                  </a:cubicBezTo>
                  <a:cubicBezTo>
                    <a:pt x="1737" y="618"/>
                    <a:pt x="1742" y="621"/>
                    <a:pt x="1886" y="671"/>
                  </a:cubicBezTo>
                  <a:cubicBezTo>
                    <a:pt x="1968" y="699"/>
                    <a:pt x="2041" y="728"/>
                    <a:pt x="2049" y="736"/>
                  </a:cubicBezTo>
                  <a:cubicBezTo>
                    <a:pt x="2056" y="743"/>
                    <a:pt x="2024" y="775"/>
                    <a:pt x="1977" y="805"/>
                  </a:cubicBezTo>
                  <a:cubicBezTo>
                    <a:pt x="1891" y="859"/>
                    <a:pt x="1891" y="861"/>
                    <a:pt x="1779" y="845"/>
                  </a:cubicBezTo>
                  <a:cubicBezTo>
                    <a:pt x="1629" y="826"/>
                    <a:pt x="1504" y="803"/>
                    <a:pt x="1432" y="783"/>
                  </a:cubicBezTo>
                  <a:cubicBezTo>
                    <a:pt x="1379" y="768"/>
                    <a:pt x="1369" y="757"/>
                    <a:pt x="1337" y="671"/>
                  </a:cubicBezTo>
                  <a:cubicBezTo>
                    <a:pt x="1313" y="607"/>
                    <a:pt x="1294" y="576"/>
                    <a:pt x="1275" y="576"/>
                  </a:cubicBezTo>
                  <a:cubicBezTo>
                    <a:pt x="1259" y="576"/>
                    <a:pt x="1217" y="624"/>
                    <a:pt x="1169" y="699"/>
                  </a:cubicBezTo>
                  <a:cubicBezTo>
                    <a:pt x="1096" y="816"/>
                    <a:pt x="1091" y="831"/>
                    <a:pt x="1091" y="933"/>
                  </a:cubicBezTo>
                  <a:cubicBezTo>
                    <a:pt x="1091" y="1047"/>
                    <a:pt x="1105" y="1071"/>
                    <a:pt x="1173" y="1072"/>
                  </a:cubicBezTo>
                  <a:cubicBezTo>
                    <a:pt x="1221" y="1072"/>
                    <a:pt x="1240" y="1101"/>
                    <a:pt x="1251" y="1194"/>
                  </a:cubicBezTo>
                  <a:lnTo>
                    <a:pt x="1262" y="1274"/>
                  </a:lnTo>
                  <a:lnTo>
                    <a:pt x="1173" y="1295"/>
                  </a:lnTo>
                  <a:lnTo>
                    <a:pt x="1081" y="1314"/>
                  </a:lnTo>
                  <a:lnTo>
                    <a:pt x="990" y="1498"/>
                  </a:lnTo>
                  <a:cubicBezTo>
                    <a:pt x="933" y="1615"/>
                    <a:pt x="891" y="1679"/>
                    <a:pt x="875" y="1679"/>
                  </a:cubicBezTo>
                  <a:cubicBezTo>
                    <a:pt x="862" y="1677"/>
                    <a:pt x="784" y="1655"/>
                    <a:pt x="704" y="1627"/>
                  </a:cubicBezTo>
                  <a:close/>
                </a:path>
              </a:pathLst>
            </a:custGeom>
            <a:solidFill>
              <a:srgbClr val="5B93D7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25" name="Республика Удмуртия">
              <a:extLst>
                <a:ext uri="{FF2B5EF4-FFF2-40B4-BE49-F238E27FC236}">
                  <a16:creationId xmlns="" xmlns:a16="http://schemas.microsoft.com/office/drawing/2014/main" id="{00000000-0008-0000-0300-000084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4547" y="5889731"/>
              <a:ext cx="491619" cy="534480"/>
            </a:xfrm>
            <a:custGeom>
              <a:avLst/>
              <a:gdLst/>
              <a:ahLst/>
              <a:cxnLst>
                <a:cxn ang="0">
                  <a:pos x="341" y="884"/>
                </a:cxn>
                <a:cxn ang="0">
                  <a:pos x="376" y="764"/>
                </a:cxn>
                <a:cxn ang="0">
                  <a:pos x="187" y="724"/>
                </a:cxn>
                <a:cxn ang="0">
                  <a:pos x="30" y="737"/>
                </a:cxn>
                <a:cxn ang="0">
                  <a:pos x="42" y="561"/>
                </a:cxn>
                <a:cxn ang="0">
                  <a:pos x="104" y="473"/>
                </a:cxn>
                <a:cxn ang="0">
                  <a:pos x="176" y="361"/>
                </a:cxn>
                <a:cxn ang="0">
                  <a:pos x="270" y="257"/>
                </a:cxn>
                <a:cxn ang="0">
                  <a:pos x="408" y="137"/>
                </a:cxn>
                <a:cxn ang="0">
                  <a:pos x="664" y="86"/>
                </a:cxn>
                <a:cxn ang="0">
                  <a:pos x="784" y="145"/>
                </a:cxn>
                <a:cxn ang="0">
                  <a:pos x="779" y="257"/>
                </a:cxn>
                <a:cxn ang="0">
                  <a:pos x="747" y="417"/>
                </a:cxn>
                <a:cxn ang="0">
                  <a:pos x="683" y="553"/>
                </a:cxn>
                <a:cxn ang="0">
                  <a:pos x="582" y="668"/>
                </a:cxn>
                <a:cxn ang="0">
                  <a:pos x="528" y="732"/>
                </a:cxn>
                <a:cxn ang="0">
                  <a:pos x="448" y="883"/>
                </a:cxn>
                <a:cxn ang="0">
                  <a:pos x="341" y="884"/>
                </a:cxn>
              </a:cxnLst>
              <a:rect l="0" t="0" r="r" b="b"/>
              <a:pathLst>
                <a:path w="784" h="932">
                  <a:moveTo>
                    <a:pt x="341" y="884"/>
                  </a:moveTo>
                  <a:cubicBezTo>
                    <a:pt x="368" y="856"/>
                    <a:pt x="376" y="827"/>
                    <a:pt x="376" y="764"/>
                  </a:cubicBezTo>
                  <a:cubicBezTo>
                    <a:pt x="376" y="664"/>
                    <a:pt x="374" y="664"/>
                    <a:pt x="187" y="724"/>
                  </a:cubicBezTo>
                  <a:cubicBezTo>
                    <a:pt x="56" y="768"/>
                    <a:pt x="53" y="768"/>
                    <a:pt x="30" y="737"/>
                  </a:cubicBezTo>
                  <a:cubicBezTo>
                    <a:pt x="0" y="696"/>
                    <a:pt x="2" y="665"/>
                    <a:pt x="42" y="561"/>
                  </a:cubicBezTo>
                  <a:cubicBezTo>
                    <a:pt x="64" y="499"/>
                    <a:pt x="83" y="473"/>
                    <a:pt x="104" y="473"/>
                  </a:cubicBezTo>
                  <a:cubicBezTo>
                    <a:pt x="144" y="473"/>
                    <a:pt x="163" y="444"/>
                    <a:pt x="176" y="361"/>
                  </a:cubicBezTo>
                  <a:cubicBezTo>
                    <a:pt x="192" y="264"/>
                    <a:pt x="198" y="257"/>
                    <a:pt x="270" y="257"/>
                  </a:cubicBezTo>
                  <a:cubicBezTo>
                    <a:pt x="331" y="257"/>
                    <a:pt x="336" y="252"/>
                    <a:pt x="408" y="137"/>
                  </a:cubicBezTo>
                  <a:cubicBezTo>
                    <a:pt x="496" y="0"/>
                    <a:pt x="488" y="1"/>
                    <a:pt x="664" y="86"/>
                  </a:cubicBezTo>
                  <a:lnTo>
                    <a:pt x="784" y="145"/>
                  </a:lnTo>
                  <a:lnTo>
                    <a:pt x="779" y="257"/>
                  </a:lnTo>
                  <a:cubicBezTo>
                    <a:pt x="776" y="328"/>
                    <a:pt x="765" y="387"/>
                    <a:pt x="747" y="417"/>
                  </a:cubicBezTo>
                  <a:cubicBezTo>
                    <a:pt x="731" y="443"/>
                    <a:pt x="702" y="504"/>
                    <a:pt x="683" y="553"/>
                  </a:cubicBezTo>
                  <a:cubicBezTo>
                    <a:pt x="653" y="627"/>
                    <a:pt x="637" y="644"/>
                    <a:pt x="582" y="668"/>
                  </a:cubicBezTo>
                  <a:cubicBezTo>
                    <a:pt x="525" y="692"/>
                    <a:pt x="518" y="700"/>
                    <a:pt x="528" y="732"/>
                  </a:cubicBezTo>
                  <a:cubicBezTo>
                    <a:pt x="558" y="827"/>
                    <a:pt x="550" y="844"/>
                    <a:pt x="448" y="883"/>
                  </a:cubicBezTo>
                  <a:cubicBezTo>
                    <a:pt x="323" y="932"/>
                    <a:pt x="296" y="932"/>
                    <a:pt x="341" y="884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26" name="Ульяновская область">
              <a:extLst>
                <a:ext uri="{FF2B5EF4-FFF2-40B4-BE49-F238E27FC236}">
                  <a16:creationId xmlns="" xmlns:a16="http://schemas.microsoft.com/office/drawing/2014/main" id="{00000000-0008-0000-0300-000085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1408" y="6212263"/>
              <a:ext cx="601983" cy="423898"/>
            </a:xfrm>
            <a:custGeom>
              <a:avLst/>
              <a:gdLst/>
              <a:ahLst/>
              <a:cxnLst>
                <a:cxn ang="0">
                  <a:pos x="208" y="696"/>
                </a:cxn>
                <a:cxn ang="0">
                  <a:pos x="66" y="631"/>
                </a:cxn>
                <a:cxn ang="0">
                  <a:pos x="0" y="589"/>
                </a:cxn>
                <a:cxn ang="0">
                  <a:pos x="93" y="506"/>
                </a:cxn>
                <a:cxn ang="0">
                  <a:pos x="187" y="423"/>
                </a:cxn>
                <a:cxn ang="0">
                  <a:pos x="167" y="327"/>
                </a:cxn>
                <a:cxn ang="0">
                  <a:pos x="152" y="168"/>
                </a:cxn>
                <a:cxn ang="0">
                  <a:pos x="157" y="104"/>
                </a:cxn>
                <a:cxn ang="0">
                  <a:pos x="243" y="99"/>
                </a:cxn>
                <a:cxn ang="0">
                  <a:pos x="346" y="47"/>
                </a:cxn>
                <a:cxn ang="0">
                  <a:pos x="381" y="0"/>
                </a:cxn>
                <a:cxn ang="0">
                  <a:pos x="472" y="91"/>
                </a:cxn>
                <a:cxn ang="0">
                  <a:pos x="501" y="138"/>
                </a:cxn>
                <a:cxn ang="0">
                  <a:pos x="701" y="208"/>
                </a:cxn>
                <a:cxn ang="0">
                  <a:pos x="783" y="256"/>
                </a:cxn>
                <a:cxn ang="0">
                  <a:pos x="864" y="315"/>
                </a:cxn>
                <a:cxn ang="0">
                  <a:pos x="922" y="413"/>
                </a:cxn>
                <a:cxn ang="0">
                  <a:pos x="957" y="450"/>
                </a:cxn>
                <a:cxn ang="0">
                  <a:pos x="882" y="522"/>
                </a:cxn>
                <a:cxn ang="0">
                  <a:pos x="805" y="594"/>
                </a:cxn>
                <a:cxn ang="0">
                  <a:pos x="720" y="528"/>
                </a:cxn>
                <a:cxn ang="0">
                  <a:pos x="531" y="464"/>
                </a:cxn>
                <a:cxn ang="0">
                  <a:pos x="367" y="482"/>
                </a:cxn>
                <a:cxn ang="0">
                  <a:pos x="306" y="498"/>
                </a:cxn>
                <a:cxn ang="0">
                  <a:pos x="315" y="608"/>
                </a:cxn>
                <a:cxn ang="0">
                  <a:pos x="208" y="696"/>
                </a:cxn>
              </a:cxnLst>
              <a:rect l="0" t="0" r="r" b="b"/>
              <a:pathLst>
                <a:path w="957" h="733">
                  <a:moveTo>
                    <a:pt x="208" y="696"/>
                  </a:moveTo>
                  <a:cubicBezTo>
                    <a:pt x="165" y="683"/>
                    <a:pt x="101" y="655"/>
                    <a:pt x="66" y="631"/>
                  </a:cubicBezTo>
                  <a:lnTo>
                    <a:pt x="0" y="589"/>
                  </a:lnTo>
                  <a:lnTo>
                    <a:pt x="93" y="506"/>
                  </a:lnTo>
                  <a:lnTo>
                    <a:pt x="187" y="423"/>
                  </a:lnTo>
                  <a:lnTo>
                    <a:pt x="167" y="327"/>
                  </a:lnTo>
                  <a:cubicBezTo>
                    <a:pt x="155" y="274"/>
                    <a:pt x="149" y="203"/>
                    <a:pt x="152" y="168"/>
                  </a:cubicBezTo>
                  <a:lnTo>
                    <a:pt x="157" y="104"/>
                  </a:lnTo>
                  <a:lnTo>
                    <a:pt x="243" y="99"/>
                  </a:lnTo>
                  <a:cubicBezTo>
                    <a:pt x="322" y="95"/>
                    <a:pt x="330" y="90"/>
                    <a:pt x="346" y="47"/>
                  </a:cubicBezTo>
                  <a:cubicBezTo>
                    <a:pt x="355" y="21"/>
                    <a:pt x="371" y="0"/>
                    <a:pt x="381" y="0"/>
                  </a:cubicBezTo>
                  <a:cubicBezTo>
                    <a:pt x="418" y="0"/>
                    <a:pt x="467" y="50"/>
                    <a:pt x="472" y="91"/>
                  </a:cubicBezTo>
                  <a:cubicBezTo>
                    <a:pt x="475" y="115"/>
                    <a:pt x="488" y="136"/>
                    <a:pt x="501" y="138"/>
                  </a:cubicBezTo>
                  <a:cubicBezTo>
                    <a:pt x="679" y="162"/>
                    <a:pt x="677" y="162"/>
                    <a:pt x="701" y="208"/>
                  </a:cubicBezTo>
                  <a:cubicBezTo>
                    <a:pt x="722" y="247"/>
                    <a:pt x="736" y="256"/>
                    <a:pt x="783" y="256"/>
                  </a:cubicBezTo>
                  <a:cubicBezTo>
                    <a:pt x="832" y="256"/>
                    <a:pt x="842" y="263"/>
                    <a:pt x="864" y="315"/>
                  </a:cubicBezTo>
                  <a:cubicBezTo>
                    <a:pt x="877" y="349"/>
                    <a:pt x="904" y="392"/>
                    <a:pt x="922" y="413"/>
                  </a:cubicBezTo>
                  <a:lnTo>
                    <a:pt x="957" y="450"/>
                  </a:lnTo>
                  <a:lnTo>
                    <a:pt x="882" y="522"/>
                  </a:lnTo>
                  <a:lnTo>
                    <a:pt x="805" y="594"/>
                  </a:lnTo>
                  <a:lnTo>
                    <a:pt x="720" y="528"/>
                  </a:lnTo>
                  <a:cubicBezTo>
                    <a:pt x="640" y="469"/>
                    <a:pt x="627" y="464"/>
                    <a:pt x="531" y="464"/>
                  </a:cubicBezTo>
                  <a:cubicBezTo>
                    <a:pt x="475" y="464"/>
                    <a:pt x="402" y="472"/>
                    <a:pt x="367" y="482"/>
                  </a:cubicBezTo>
                  <a:lnTo>
                    <a:pt x="306" y="498"/>
                  </a:lnTo>
                  <a:lnTo>
                    <a:pt x="315" y="608"/>
                  </a:lnTo>
                  <a:cubicBezTo>
                    <a:pt x="328" y="733"/>
                    <a:pt x="333" y="730"/>
                    <a:pt x="208" y="696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27" name="Хабаровский край">
              <a:extLst>
                <a:ext uri="{FF2B5EF4-FFF2-40B4-BE49-F238E27FC236}">
                  <a16:creationId xmlns="" xmlns:a16="http://schemas.microsoft.com/office/drawing/2014/main" id="{00000000-0008-0000-0300-000086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65740" y="4148063"/>
              <a:ext cx="2257435" cy="3354324"/>
            </a:xfrm>
            <a:custGeom>
              <a:avLst/>
              <a:gdLst/>
              <a:ahLst/>
              <a:cxnLst>
                <a:cxn ang="0">
                  <a:pos x="2704" y="5411"/>
                </a:cxn>
                <a:cxn ang="0">
                  <a:pos x="2416" y="5249"/>
                </a:cxn>
                <a:cxn ang="0">
                  <a:pos x="1936" y="5320"/>
                </a:cxn>
                <a:cxn ang="0">
                  <a:pos x="1654" y="5256"/>
                </a:cxn>
                <a:cxn ang="0">
                  <a:pos x="1323" y="4889"/>
                </a:cxn>
                <a:cxn ang="0">
                  <a:pos x="1472" y="4379"/>
                </a:cxn>
                <a:cxn ang="0">
                  <a:pos x="1558" y="4155"/>
                </a:cxn>
                <a:cxn ang="0">
                  <a:pos x="1400" y="3784"/>
                </a:cxn>
                <a:cxn ang="0">
                  <a:pos x="1096" y="4104"/>
                </a:cxn>
                <a:cxn ang="0">
                  <a:pos x="699" y="4120"/>
                </a:cxn>
                <a:cxn ang="0">
                  <a:pos x="757" y="3476"/>
                </a:cxn>
                <a:cxn ang="0">
                  <a:pos x="486" y="3454"/>
                </a:cxn>
                <a:cxn ang="0">
                  <a:pos x="302" y="3248"/>
                </a:cxn>
                <a:cxn ang="0">
                  <a:pos x="104" y="2953"/>
                </a:cxn>
                <a:cxn ang="0">
                  <a:pos x="35" y="2491"/>
                </a:cxn>
                <a:cxn ang="0">
                  <a:pos x="342" y="2104"/>
                </a:cxn>
                <a:cxn ang="0">
                  <a:pos x="534" y="1849"/>
                </a:cxn>
                <a:cxn ang="0">
                  <a:pos x="522" y="1340"/>
                </a:cxn>
                <a:cxn ang="0">
                  <a:pos x="398" y="721"/>
                </a:cxn>
                <a:cxn ang="0">
                  <a:pos x="467" y="478"/>
                </a:cxn>
                <a:cxn ang="0">
                  <a:pos x="790" y="289"/>
                </a:cxn>
                <a:cxn ang="0">
                  <a:pos x="957" y="121"/>
                </a:cxn>
                <a:cxn ang="0">
                  <a:pos x="1437" y="166"/>
                </a:cxn>
                <a:cxn ang="0">
                  <a:pos x="1392" y="363"/>
                </a:cxn>
                <a:cxn ang="0">
                  <a:pos x="1803" y="417"/>
                </a:cxn>
                <a:cxn ang="0">
                  <a:pos x="1794" y="598"/>
                </a:cxn>
                <a:cxn ang="0">
                  <a:pos x="1478" y="937"/>
                </a:cxn>
                <a:cxn ang="0">
                  <a:pos x="1302" y="1539"/>
                </a:cxn>
                <a:cxn ang="0">
                  <a:pos x="1394" y="1806"/>
                </a:cxn>
                <a:cxn ang="0">
                  <a:pos x="1320" y="2428"/>
                </a:cxn>
                <a:cxn ang="0">
                  <a:pos x="1206" y="3361"/>
                </a:cxn>
                <a:cxn ang="0">
                  <a:pos x="1581" y="3233"/>
                </a:cxn>
                <a:cxn ang="0">
                  <a:pos x="1784" y="3302"/>
                </a:cxn>
                <a:cxn ang="0">
                  <a:pos x="1949" y="3409"/>
                </a:cxn>
                <a:cxn ang="0">
                  <a:pos x="2026" y="3036"/>
                </a:cxn>
                <a:cxn ang="0">
                  <a:pos x="2459" y="2939"/>
                </a:cxn>
                <a:cxn ang="0">
                  <a:pos x="2902" y="3228"/>
                </a:cxn>
                <a:cxn ang="0">
                  <a:pos x="3458" y="4254"/>
                </a:cxn>
                <a:cxn ang="0">
                  <a:pos x="3581" y="4904"/>
                </a:cxn>
                <a:cxn ang="0">
                  <a:pos x="3155" y="4936"/>
                </a:cxn>
                <a:cxn ang="0">
                  <a:pos x="3387" y="5009"/>
                </a:cxn>
                <a:cxn ang="0">
                  <a:pos x="3341" y="5201"/>
                </a:cxn>
                <a:cxn ang="0">
                  <a:pos x="3331" y="5414"/>
                </a:cxn>
                <a:cxn ang="0">
                  <a:pos x="2944" y="5537"/>
                </a:cxn>
                <a:cxn ang="0">
                  <a:pos x="2832" y="5825"/>
                </a:cxn>
              </a:cxnLst>
              <a:rect l="0" t="0" r="r" b="b"/>
              <a:pathLst>
                <a:path w="3589" h="5825">
                  <a:moveTo>
                    <a:pt x="2792" y="5760"/>
                  </a:moveTo>
                  <a:cubicBezTo>
                    <a:pt x="2773" y="5713"/>
                    <a:pt x="2768" y="5672"/>
                    <a:pt x="2776" y="5616"/>
                  </a:cubicBezTo>
                  <a:cubicBezTo>
                    <a:pt x="2786" y="5542"/>
                    <a:pt x="2782" y="5532"/>
                    <a:pt x="2704" y="5411"/>
                  </a:cubicBezTo>
                  <a:cubicBezTo>
                    <a:pt x="2659" y="5340"/>
                    <a:pt x="2616" y="5264"/>
                    <a:pt x="2606" y="5241"/>
                  </a:cubicBezTo>
                  <a:cubicBezTo>
                    <a:pt x="2598" y="5219"/>
                    <a:pt x="2586" y="5201"/>
                    <a:pt x="2579" y="5201"/>
                  </a:cubicBezTo>
                  <a:cubicBezTo>
                    <a:pt x="2573" y="5201"/>
                    <a:pt x="2499" y="5222"/>
                    <a:pt x="2416" y="5249"/>
                  </a:cubicBezTo>
                  <a:cubicBezTo>
                    <a:pt x="2238" y="5305"/>
                    <a:pt x="2238" y="5305"/>
                    <a:pt x="2157" y="5264"/>
                  </a:cubicBezTo>
                  <a:lnTo>
                    <a:pt x="2093" y="5232"/>
                  </a:lnTo>
                  <a:lnTo>
                    <a:pt x="1936" y="5320"/>
                  </a:lnTo>
                  <a:cubicBezTo>
                    <a:pt x="1848" y="5369"/>
                    <a:pt x="1773" y="5409"/>
                    <a:pt x="1768" y="5409"/>
                  </a:cubicBezTo>
                  <a:cubicBezTo>
                    <a:pt x="1763" y="5409"/>
                    <a:pt x="1758" y="5398"/>
                    <a:pt x="1758" y="5384"/>
                  </a:cubicBezTo>
                  <a:cubicBezTo>
                    <a:pt x="1758" y="5369"/>
                    <a:pt x="1712" y="5312"/>
                    <a:pt x="1654" y="5256"/>
                  </a:cubicBezTo>
                  <a:cubicBezTo>
                    <a:pt x="1555" y="5158"/>
                    <a:pt x="1546" y="5153"/>
                    <a:pt x="1472" y="5153"/>
                  </a:cubicBezTo>
                  <a:cubicBezTo>
                    <a:pt x="1402" y="5153"/>
                    <a:pt x="1394" y="5148"/>
                    <a:pt x="1363" y="5092"/>
                  </a:cubicBezTo>
                  <a:cubicBezTo>
                    <a:pt x="1339" y="5049"/>
                    <a:pt x="1328" y="4995"/>
                    <a:pt x="1323" y="4889"/>
                  </a:cubicBezTo>
                  <a:cubicBezTo>
                    <a:pt x="1317" y="4753"/>
                    <a:pt x="1318" y="4739"/>
                    <a:pt x="1370" y="4628"/>
                  </a:cubicBezTo>
                  <a:cubicBezTo>
                    <a:pt x="1398" y="4564"/>
                    <a:pt x="1422" y="4494"/>
                    <a:pt x="1422" y="4472"/>
                  </a:cubicBezTo>
                  <a:cubicBezTo>
                    <a:pt x="1422" y="4451"/>
                    <a:pt x="1445" y="4409"/>
                    <a:pt x="1472" y="4379"/>
                  </a:cubicBezTo>
                  <a:cubicBezTo>
                    <a:pt x="1512" y="4332"/>
                    <a:pt x="1517" y="4316"/>
                    <a:pt x="1504" y="4291"/>
                  </a:cubicBezTo>
                  <a:cubicBezTo>
                    <a:pt x="1494" y="4273"/>
                    <a:pt x="1474" y="4251"/>
                    <a:pt x="1458" y="4243"/>
                  </a:cubicBezTo>
                  <a:cubicBezTo>
                    <a:pt x="1421" y="4220"/>
                    <a:pt x="1442" y="4203"/>
                    <a:pt x="1558" y="4155"/>
                  </a:cubicBezTo>
                  <a:cubicBezTo>
                    <a:pt x="1611" y="4134"/>
                    <a:pt x="1661" y="4107"/>
                    <a:pt x="1667" y="4094"/>
                  </a:cubicBezTo>
                  <a:cubicBezTo>
                    <a:pt x="1682" y="4070"/>
                    <a:pt x="1515" y="3697"/>
                    <a:pt x="1490" y="3697"/>
                  </a:cubicBezTo>
                  <a:cubicBezTo>
                    <a:pt x="1482" y="3697"/>
                    <a:pt x="1442" y="3736"/>
                    <a:pt x="1400" y="3784"/>
                  </a:cubicBezTo>
                  <a:cubicBezTo>
                    <a:pt x="1338" y="3856"/>
                    <a:pt x="1315" y="3872"/>
                    <a:pt x="1266" y="3876"/>
                  </a:cubicBezTo>
                  <a:cubicBezTo>
                    <a:pt x="1206" y="3881"/>
                    <a:pt x="1206" y="3881"/>
                    <a:pt x="1211" y="3947"/>
                  </a:cubicBezTo>
                  <a:cubicBezTo>
                    <a:pt x="1218" y="4012"/>
                    <a:pt x="1216" y="4014"/>
                    <a:pt x="1096" y="4104"/>
                  </a:cubicBezTo>
                  <a:cubicBezTo>
                    <a:pt x="1029" y="4153"/>
                    <a:pt x="968" y="4193"/>
                    <a:pt x="960" y="4193"/>
                  </a:cubicBezTo>
                  <a:cubicBezTo>
                    <a:pt x="952" y="4193"/>
                    <a:pt x="930" y="4166"/>
                    <a:pt x="912" y="4134"/>
                  </a:cubicBezTo>
                  <a:cubicBezTo>
                    <a:pt x="874" y="4070"/>
                    <a:pt x="858" y="4070"/>
                    <a:pt x="699" y="4120"/>
                  </a:cubicBezTo>
                  <a:cubicBezTo>
                    <a:pt x="629" y="4142"/>
                    <a:pt x="622" y="4140"/>
                    <a:pt x="622" y="4116"/>
                  </a:cubicBezTo>
                  <a:cubicBezTo>
                    <a:pt x="622" y="4041"/>
                    <a:pt x="675" y="3803"/>
                    <a:pt x="722" y="3676"/>
                  </a:cubicBezTo>
                  <a:cubicBezTo>
                    <a:pt x="763" y="3558"/>
                    <a:pt x="770" y="3524"/>
                    <a:pt x="757" y="3476"/>
                  </a:cubicBezTo>
                  <a:cubicBezTo>
                    <a:pt x="744" y="3425"/>
                    <a:pt x="733" y="3414"/>
                    <a:pt x="675" y="3393"/>
                  </a:cubicBezTo>
                  <a:lnTo>
                    <a:pt x="606" y="3369"/>
                  </a:lnTo>
                  <a:lnTo>
                    <a:pt x="486" y="3454"/>
                  </a:lnTo>
                  <a:cubicBezTo>
                    <a:pt x="421" y="3499"/>
                    <a:pt x="360" y="3537"/>
                    <a:pt x="352" y="3537"/>
                  </a:cubicBezTo>
                  <a:cubicBezTo>
                    <a:pt x="334" y="3537"/>
                    <a:pt x="286" y="3380"/>
                    <a:pt x="286" y="3321"/>
                  </a:cubicBezTo>
                  <a:cubicBezTo>
                    <a:pt x="286" y="3297"/>
                    <a:pt x="294" y="3265"/>
                    <a:pt x="302" y="3248"/>
                  </a:cubicBezTo>
                  <a:cubicBezTo>
                    <a:pt x="334" y="3188"/>
                    <a:pt x="304" y="3139"/>
                    <a:pt x="195" y="3076"/>
                  </a:cubicBezTo>
                  <a:lnTo>
                    <a:pt x="93" y="3017"/>
                  </a:lnTo>
                  <a:lnTo>
                    <a:pt x="104" y="2953"/>
                  </a:lnTo>
                  <a:cubicBezTo>
                    <a:pt x="122" y="2848"/>
                    <a:pt x="122" y="2844"/>
                    <a:pt x="58" y="2803"/>
                  </a:cubicBezTo>
                  <a:cubicBezTo>
                    <a:pt x="6" y="2768"/>
                    <a:pt x="0" y="2760"/>
                    <a:pt x="21" y="2740"/>
                  </a:cubicBezTo>
                  <a:cubicBezTo>
                    <a:pt x="38" y="2721"/>
                    <a:pt x="42" y="2673"/>
                    <a:pt x="35" y="2491"/>
                  </a:cubicBezTo>
                  <a:lnTo>
                    <a:pt x="27" y="2265"/>
                  </a:lnTo>
                  <a:lnTo>
                    <a:pt x="186" y="2184"/>
                  </a:lnTo>
                  <a:lnTo>
                    <a:pt x="342" y="2104"/>
                  </a:lnTo>
                  <a:lnTo>
                    <a:pt x="339" y="2008"/>
                  </a:lnTo>
                  <a:lnTo>
                    <a:pt x="336" y="1910"/>
                  </a:lnTo>
                  <a:lnTo>
                    <a:pt x="534" y="1849"/>
                  </a:lnTo>
                  <a:lnTo>
                    <a:pt x="550" y="1609"/>
                  </a:lnTo>
                  <a:lnTo>
                    <a:pt x="606" y="1603"/>
                  </a:lnTo>
                  <a:cubicBezTo>
                    <a:pt x="717" y="1593"/>
                    <a:pt x="715" y="1590"/>
                    <a:pt x="522" y="1340"/>
                  </a:cubicBezTo>
                  <a:cubicBezTo>
                    <a:pt x="419" y="1209"/>
                    <a:pt x="398" y="1172"/>
                    <a:pt x="384" y="1094"/>
                  </a:cubicBezTo>
                  <a:cubicBezTo>
                    <a:pt x="362" y="976"/>
                    <a:pt x="360" y="987"/>
                    <a:pt x="416" y="921"/>
                  </a:cubicBezTo>
                  <a:cubicBezTo>
                    <a:pt x="472" y="859"/>
                    <a:pt x="470" y="841"/>
                    <a:pt x="398" y="721"/>
                  </a:cubicBezTo>
                  <a:cubicBezTo>
                    <a:pt x="374" y="680"/>
                    <a:pt x="346" y="620"/>
                    <a:pt x="333" y="587"/>
                  </a:cubicBezTo>
                  <a:cubicBezTo>
                    <a:pt x="314" y="536"/>
                    <a:pt x="315" y="526"/>
                    <a:pt x="339" y="500"/>
                  </a:cubicBezTo>
                  <a:cubicBezTo>
                    <a:pt x="362" y="480"/>
                    <a:pt x="390" y="473"/>
                    <a:pt x="467" y="478"/>
                  </a:cubicBezTo>
                  <a:cubicBezTo>
                    <a:pt x="522" y="480"/>
                    <a:pt x="598" y="472"/>
                    <a:pt x="638" y="460"/>
                  </a:cubicBezTo>
                  <a:cubicBezTo>
                    <a:pt x="699" y="441"/>
                    <a:pt x="717" y="427"/>
                    <a:pt x="750" y="363"/>
                  </a:cubicBezTo>
                  <a:lnTo>
                    <a:pt x="790" y="289"/>
                  </a:lnTo>
                  <a:lnTo>
                    <a:pt x="978" y="289"/>
                  </a:lnTo>
                  <a:lnTo>
                    <a:pt x="966" y="204"/>
                  </a:lnTo>
                  <a:lnTo>
                    <a:pt x="957" y="121"/>
                  </a:lnTo>
                  <a:lnTo>
                    <a:pt x="1035" y="60"/>
                  </a:lnTo>
                  <a:cubicBezTo>
                    <a:pt x="1114" y="1"/>
                    <a:pt x="1117" y="0"/>
                    <a:pt x="1190" y="17"/>
                  </a:cubicBezTo>
                  <a:cubicBezTo>
                    <a:pt x="1306" y="43"/>
                    <a:pt x="1384" y="91"/>
                    <a:pt x="1437" y="166"/>
                  </a:cubicBezTo>
                  <a:lnTo>
                    <a:pt x="1485" y="236"/>
                  </a:lnTo>
                  <a:lnTo>
                    <a:pt x="1438" y="300"/>
                  </a:lnTo>
                  <a:lnTo>
                    <a:pt x="1392" y="363"/>
                  </a:lnTo>
                  <a:lnTo>
                    <a:pt x="1432" y="422"/>
                  </a:lnTo>
                  <a:cubicBezTo>
                    <a:pt x="1477" y="488"/>
                    <a:pt x="1509" y="494"/>
                    <a:pt x="1566" y="449"/>
                  </a:cubicBezTo>
                  <a:cubicBezTo>
                    <a:pt x="1602" y="422"/>
                    <a:pt x="1632" y="417"/>
                    <a:pt x="1803" y="417"/>
                  </a:cubicBezTo>
                  <a:cubicBezTo>
                    <a:pt x="1962" y="417"/>
                    <a:pt x="1998" y="420"/>
                    <a:pt x="1998" y="440"/>
                  </a:cubicBezTo>
                  <a:cubicBezTo>
                    <a:pt x="1998" y="452"/>
                    <a:pt x="1963" y="473"/>
                    <a:pt x="1915" y="489"/>
                  </a:cubicBezTo>
                  <a:cubicBezTo>
                    <a:pt x="1805" y="526"/>
                    <a:pt x="1789" y="540"/>
                    <a:pt x="1794" y="598"/>
                  </a:cubicBezTo>
                  <a:cubicBezTo>
                    <a:pt x="1798" y="643"/>
                    <a:pt x="1792" y="649"/>
                    <a:pt x="1730" y="672"/>
                  </a:cubicBezTo>
                  <a:cubicBezTo>
                    <a:pt x="1691" y="686"/>
                    <a:pt x="1651" y="712"/>
                    <a:pt x="1642" y="729"/>
                  </a:cubicBezTo>
                  <a:cubicBezTo>
                    <a:pt x="1632" y="747"/>
                    <a:pt x="1558" y="840"/>
                    <a:pt x="1478" y="937"/>
                  </a:cubicBezTo>
                  <a:cubicBezTo>
                    <a:pt x="1398" y="1033"/>
                    <a:pt x="1325" y="1124"/>
                    <a:pt x="1312" y="1140"/>
                  </a:cubicBezTo>
                  <a:cubicBezTo>
                    <a:pt x="1294" y="1164"/>
                    <a:pt x="1296" y="1182"/>
                    <a:pt x="1328" y="1257"/>
                  </a:cubicBezTo>
                  <a:cubicBezTo>
                    <a:pt x="1368" y="1353"/>
                    <a:pt x="1366" y="1374"/>
                    <a:pt x="1302" y="1539"/>
                  </a:cubicBezTo>
                  <a:lnTo>
                    <a:pt x="1274" y="1612"/>
                  </a:lnTo>
                  <a:lnTo>
                    <a:pt x="1333" y="1708"/>
                  </a:lnTo>
                  <a:lnTo>
                    <a:pt x="1394" y="1806"/>
                  </a:lnTo>
                  <a:lnTo>
                    <a:pt x="1344" y="2004"/>
                  </a:lnTo>
                  <a:lnTo>
                    <a:pt x="1294" y="2204"/>
                  </a:lnTo>
                  <a:lnTo>
                    <a:pt x="1320" y="2428"/>
                  </a:lnTo>
                  <a:lnTo>
                    <a:pt x="1346" y="2654"/>
                  </a:lnTo>
                  <a:lnTo>
                    <a:pt x="1272" y="3000"/>
                  </a:lnTo>
                  <a:cubicBezTo>
                    <a:pt x="1230" y="3190"/>
                    <a:pt x="1202" y="3353"/>
                    <a:pt x="1206" y="3361"/>
                  </a:cubicBezTo>
                  <a:cubicBezTo>
                    <a:pt x="1213" y="3369"/>
                    <a:pt x="1248" y="3377"/>
                    <a:pt x="1285" y="3377"/>
                  </a:cubicBezTo>
                  <a:cubicBezTo>
                    <a:pt x="1341" y="3377"/>
                    <a:pt x="1376" y="3363"/>
                    <a:pt x="1459" y="3305"/>
                  </a:cubicBezTo>
                  <a:cubicBezTo>
                    <a:pt x="1518" y="3265"/>
                    <a:pt x="1573" y="3233"/>
                    <a:pt x="1581" y="3233"/>
                  </a:cubicBezTo>
                  <a:cubicBezTo>
                    <a:pt x="1590" y="3233"/>
                    <a:pt x="1627" y="3268"/>
                    <a:pt x="1666" y="3313"/>
                  </a:cubicBezTo>
                  <a:cubicBezTo>
                    <a:pt x="1746" y="3406"/>
                    <a:pt x="1795" y="3419"/>
                    <a:pt x="1794" y="3345"/>
                  </a:cubicBezTo>
                  <a:cubicBezTo>
                    <a:pt x="1794" y="3340"/>
                    <a:pt x="1789" y="3321"/>
                    <a:pt x="1784" y="3302"/>
                  </a:cubicBezTo>
                  <a:cubicBezTo>
                    <a:pt x="1776" y="3275"/>
                    <a:pt x="1782" y="3262"/>
                    <a:pt x="1808" y="3248"/>
                  </a:cubicBezTo>
                  <a:cubicBezTo>
                    <a:pt x="1851" y="3225"/>
                    <a:pt x="1874" y="3246"/>
                    <a:pt x="1901" y="3340"/>
                  </a:cubicBezTo>
                  <a:cubicBezTo>
                    <a:pt x="1914" y="3388"/>
                    <a:pt x="1928" y="3409"/>
                    <a:pt x="1949" y="3409"/>
                  </a:cubicBezTo>
                  <a:cubicBezTo>
                    <a:pt x="1981" y="3409"/>
                    <a:pt x="2126" y="3262"/>
                    <a:pt x="2126" y="3232"/>
                  </a:cubicBezTo>
                  <a:cubicBezTo>
                    <a:pt x="2126" y="3220"/>
                    <a:pt x="2104" y="3172"/>
                    <a:pt x="2075" y="3124"/>
                  </a:cubicBezTo>
                  <a:lnTo>
                    <a:pt x="2026" y="3036"/>
                  </a:lnTo>
                  <a:lnTo>
                    <a:pt x="2093" y="2972"/>
                  </a:lnTo>
                  <a:cubicBezTo>
                    <a:pt x="2157" y="2913"/>
                    <a:pt x="2165" y="2910"/>
                    <a:pt x="2235" y="2920"/>
                  </a:cubicBezTo>
                  <a:cubicBezTo>
                    <a:pt x="2277" y="2924"/>
                    <a:pt x="2378" y="2934"/>
                    <a:pt x="2459" y="2939"/>
                  </a:cubicBezTo>
                  <a:cubicBezTo>
                    <a:pt x="2618" y="2948"/>
                    <a:pt x="2610" y="2944"/>
                    <a:pt x="2626" y="3048"/>
                  </a:cubicBezTo>
                  <a:cubicBezTo>
                    <a:pt x="2629" y="3067"/>
                    <a:pt x="2680" y="3105"/>
                    <a:pt x="2766" y="3153"/>
                  </a:cubicBezTo>
                  <a:lnTo>
                    <a:pt x="2902" y="3228"/>
                  </a:lnTo>
                  <a:lnTo>
                    <a:pt x="2930" y="3355"/>
                  </a:lnTo>
                  <a:cubicBezTo>
                    <a:pt x="2971" y="3555"/>
                    <a:pt x="3066" y="3740"/>
                    <a:pt x="3216" y="3915"/>
                  </a:cubicBezTo>
                  <a:cubicBezTo>
                    <a:pt x="3288" y="3998"/>
                    <a:pt x="3397" y="4150"/>
                    <a:pt x="3458" y="4254"/>
                  </a:cubicBezTo>
                  <a:lnTo>
                    <a:pt x="3571" y="4440"/>
                  </a:lnTo>
                  <a:lnTo>
                    <a:pt x="3582" y="4664"/>
                  </a:lnTo>
                  <a:cubicBezTo>
                    <a:pt x="3589" y="4788"/>
                    <a:pt x="3587" y="4896"/>
                    <a:pt x="3581" y="4904"/>
                  </a:cubicBezTo>
                  <a:cubicBezTo>
                    <a:pt x="3563" y="4923"/>
                    <a:pt x="3518" y="4884"/>
                    <a:pt x="3518" y="4848"/>
                  </a:cubicBezTo>
                  <a:cubicBezTo>
                    <a:pt x="3518" y="4820"/>
                    <a:pt x="3357" y="4689"/>
                    <a:pt x="3325" y="4689"/>
                  </a:cubicBezTo>
                  <a:cubicBezTo>
                    <a:pt x="3299" y="4689"/>
                    <a:pt x="3150" y="4905"/>
                    <a:pt x="3155" y="4936"/>
                  </a:cubicBezTo>
                  <a:cubicBezTo>
                    <a:pt x="3157" y="4955"/>
                    <a:pt x="3186" y="4984"/>
                    <a:pt x="3221" y="5003"/>
                  </a:cubicBezTo>
                  <a:cubicBezTo>
                    <a:pt x="3270" y="5030"/>
                    <a:pt x="3293" y="5035"/>
                    <a:pt x="3333" y="5024"/>
                  </a:cubicBezTo>
                  <a:cubicBezTo>
                    <a:pt x="3360" y="5016"/>
                    <a:pt x="3384" y="5009"/>
                    <a:pt x="3387" y="5009"/>
                  </a:cubicBezTo>
                  <a:cubicBezTo>
                    <a:pt x="3389" y="5009"/>
                    <a:pt x="3390" y="5052"/>
                    <a:pt x="3390" y="5105"/>
                  </a:cubicBezTo>
                  <a:lnTo>
                    <a:pt x="3390" y="5201"/>
                  </a:lnTo>
                  <a:lnTo>
                    <a:pt x="3341" y="5201"/>
                  </a:lnTo>
                  <a:cubicBezTo>
                    <a:pt x="3315" y="5201"/>
                    <a:pt x="3278" y="5208"/>
                    <a:pt x="3261" y="5217"/>
                  </a:cubicBezTo>
                  <a:cubicBezTo>
                    <a:pt x="3230" y="5235"/>
                    <a:pt x="3230" y="5238"/>
                    <a:pt x="3280" y="5324"/>
                  </a:cubicBezTo>
                  <a:lnTo>
                    <a:pt x="3331" y="5414"/>
                  </a:lnTo>
                  <a:lnTo>
                    <a:pt x="3266" y="5475"/>
                  </a:lnTo>
                  <a:cubicBezTo>
                    <a:pt x="3200" y="5536"/>
                    <a:pt x="3198" y="5537"/>
                    <a:pt x="3072" y="5537"/>
                  </a:cubicBezTo>
                  <a:lnTo>
                    <a:pt x="2944" y="5537"/>
                  </a:lnTo>
                  <a:lnTo>
                    <a:pt x="2886" y="5625"/>
                  </a:lnTo>
                  <a:cubicBezTo>
                    <a:pt x="2827" y="5720"/>
                    <a:pt x="2821" y="5744"/>
                    <a:pt x="2848" y="5772"/>
                  </a:cubicBezTo>
                  <a:cubicBezTo>
                    <a:pt x="2867" y="5790"/>
                    <a:pt x="2856" y="5825"/>
                    <a:pt x="2832" y="5825"/>
                  </a:cubicBezTo>
                  <a:cubicBezTo>
                    <a:pt x="2824" y="5825"/>
                    <a:pt x="2806" y="5795"/>
                    <a:pt x="2792" y="5760"/>
                  </a:cubicBezTo>
                  <a:close/>
                </a:path>
              </a:pathLst>
            </a:custGeom>
            <a:solidFill>
              <a:srgbClr val="1B3F6B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28" name="ХМАО">
              <a:extLst>
                <a:ext uri="{FF2B5EF4-FFF2-40B4-BE49-F238E27FC236}">
                  <a16:creationId xmlns="" xmlns:a16="http://schemas.microsoft.com/office/drawing/2014/main" id="{00000000-0008-0000-0300-000087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9471" y="4977429"/>
              <a:ext cx="2708921" cy="1760099"/>
            </a:xfrm>
            <a:custGeom>
              <a:avLst/>
              <a:gdLst/>
              <a:ahLst/>
              <a:cxnLst>
                <a:cxn ang="0">
                  <a:pos x="1906" y="2888"/>
                </a:cxn>
                <a:cxn ang="0">
                  <a:pos x="1687" y="2504"/>
                </a:cxn>
                <a:cxn ang="0">
                  <a:pos x="1308" y="2327"/>
                </a:cxn>
                <a:cxn ang="0">
                  <a:pos x="730" y="2631"/>
                </a:cxn>
                <a:cxn ang="0">
                  <a:pos x="546" y="2427"/>
                </a:cxn>
                <a:cxn ang="0">
                  <a:pos x="458" y="2282"/>
                </a:cxn>
                <a:cxn ang="0">
                  <a:pos x="372" y="1946"/>
                </a:cxn>
                <a:cxn ang="0">
                  <a:pos x="370" y="1733"/>
                </a:cxn>
                <a:cxn ang="0">
                  <a:pos x="304" y="1413"/>
                </a:cxn>
                <a:cxn ang="0">
                  <a:pos x="39" y="1122"/>
                </a:cxn>
                <a:cxn ang="0">
                  <a:pos x="328" y="443"/>
                </a:cxn>
                <a:cxn ang="0">
                  <a:pos x="456" y="195"/>
                </a:cxn>
                <a:cxn ang="0">
                  <a:pos x="724" y="82"/>
                </a:cxn>
                <a:cxn ang="0">
                  <a:pos x="914" y="101"/>
                </a:cxn>
                <a:cxn ang="0">
                  <a:pos x="815" y="384"/>
                </a:cxn>
                <a:cxn ang="0">
                  <a:pos x="928" y="538"/>
                </a:cxn>
                <a:cxn ang="0">
                  <a:pos x="1356" y="615"/>
                </a:cxn>
                <a:cxn ang="0">
                  <a:pos x="1512" y="835"/>
                </a:cxn>
                <a:cxn ang="0">
                  <a:pos x="1708" y="847"/>
                </a:cxn>
                <a:cxn ang="0">
                  <a:pos x="1903" y="875"/>
                </a:cxn>
                <a:cxn ang="0">
                  <a:pos x="2058" y="1235"/>
                </a:cxn>
                <a:cxn ang="0">
                  <a:pos x="2223" y="1360"/>
                </a:cxn>
                <a:cxn ang="0">
                  <a:pos x="2684" y="1557"/>
                </a:cxn>
                <a:cxn ang="0">
                  <a:pos x="2936" y="1704"/>
                </a:cxn>
                <a:cxn ang="0">
                  <a:pos x="3357" y="1824"/>
                </a:cxn>
                <a:cxn ang="0">
                  <a:pos x="3631" y="1773"/>
                </a:cxn>
                <a:cxn ang="0">
                  <a:pos x="3960" y="1928"/>
                </a:cxn>
                <a:cxn ang="0">
                  <a:pos x="4100" y="2053"/>
                </a:cxn>
                <a:cxn ang="0">
                  <a:pos x="4311" y="2355"/>
                </a:cxn>
                <a:cxn ang="0">
                  <a:pos x="3992" y="2480"/>
                </a:cxn>
                <a:cxn ang="0">
                  <a:pos x="3799" y="2523"/>
                </a:cxn>
                <a:cxn ang="0">
                  <a:pos x="3559" y="2538"/>
                </a:cxn>
                <a:cxn ang="0">
                  <a:pos x="3183" y="2456"/>
                </a:cxn>
                <a:cxn ang="0">
                  <a:pos x="2789" y="2397"/>
                </a:cxn>
                <a:cxn ang="0">
                  <a:pos x="2546" y="2816"/>
                </a:cxn>
                <a:cxn ang="0">
                  <a:pos x="2258" y="3055"/>
                </a:cxn>
              </a:cxnLst>
              <a:rect l="0" t="0" r="r" b="b"/>
              <a:pathLst>
                <a:path w="4316" h="3055">
                  <a:moveTo>
                    <a:pt x="2096" y="3003"/>
                  </a:moveTo>
                  <a:cubicBezTo>
                    <a:pt x="1954" y="2951"/>
                    <a:pt x="1906" y="2922"/>
                    <a:pt x="1906" y="2888"/>
                  </a:cubicBezTo>
                  <a:cubicBezTo>
                    <a:pt x="1906" y="2879"/>
                    <a:pt x="1856" y="2787"/>
                    <a:pt x="1796" y="2687"/>
                  </a:cubicBezTo>
                  <a:lnTo>
                    <a:pt x="1687" y="2504"/>
                  </a:lnTo>
                  <a:lnTo>
                    <a:pt x="1506" y="2400"/>
                  </a:lnTo>
                  <a:cubicBezTo>
                    <a:pt x="1340" y="2306"/>
                    <a:pt x="1324" y="2299"/>
                    <a:pt x="1308" y="2327"/>
                  </a:cubicBezTo>
                  <a:cubicBezTo>
                    <a:pt x="1231" y="2456"/>
                    <a:pt x="1128" y="2522"/>
                    <a:pt x="932" y="2568"/>
                  </a:cubicBezTo>
                  <a:cubicBezTo>
                    <a:pt x="847" y="2589"/>
                    <a:pt x="756" y="2618"/>
                    <a:pt x="730" y="2631"/>
                  </a:cubicBezTo>
                  <a:cubicBezTo>
                    <a:pt x="647" y="2674"/>
                    <a:pt x="615" y="2664"/>
                    <a:pt x="578" y="2584"/>
                  </a:cubicBezTo>
                  <a:cubicBezTo>
                    <a:pt x="559" y="2541"/>
                    <a:pt x="546" y="2480"/>
                    <a:pt x="546" y="2427"/>
                  </a:cubicBezTo>
                  <a:lnTo>
                    <a:pt x="546" y="2341"/>
                  </a:lnTo>
                  <a:lnTo>
                    <a:pt x="458" y="2282"/>
                  </a:lnTo>
                  <a:cubicBezTo>
                    <a:pt x="362" y="2218"/>
                    <a:pt x="359" y="2208"/>
                    <a:pt x="388" y="2085"/>
                  </a:cubicBezTo>
                  <a:cubicBezTo>
                    <a:pt x="404" y="2016"/>
                    <a:pt x="402" y="2000"/>
                    <a:pt x="372" y="1946"/>
                  </a:cubicBezTo>
                  <a:lnTo>
                    <a:pt x="336" y="1883"/>
                  </a:lnTo>
                  <a:lnTo>
                    <a:pt x="370" y="1733"/>
                  </a:lnTo>
                  <a:lnTo>
                    <a:pt x="405" y="1583"/>
                  </a:lnTo>
                  <a:lnTo>
                    <a:pt x="304" y="1413"/>
                  </a:lnTo>
                  <a:cubicBezTo>
                    <a:pt x="216" y="1263"/>
                    <a:pt x="196" y="1240"/>
                    <a:pt x="133" y="1211"/>
                  </a:cubicBezTo>
                  <a:cubicBezTo>
                    <a:pt x="80" y="1189"/>
                    <a:pt x="56" y="1167"/>
                    <a:pt x="39" y="1122"/>
                  </a:cubicBezTo>
                  <a:cubicBezTo>
                    <a:pt x="0" y="1031"/>
                    <a:pt x="8" y="967"/>
                    <a:pt x="87" y="768"/>
                  </a:cubicBezTo>
                  <a:cubicBezTo>
                    <a:pt x="162" y="579"/>
                    <a:pt x="178" y="557"/>
                    <a:pt x="328" y="443"/>
                  </a:cubicBezTo>
                  <a:cubicBezTo>
                    <a:pt x="378" y="405"/>
                    <a:pt x="386" y="389"/>
                    <a:pt x="386" y="335"/>
                  </a:cubicBezTo>
                  <a:cubicBezTo>
                    <a:pt x="386" y="280"/>
                    <a:pt x="397" y="258"/>
                    <a:pt x="456" y="195"/>
                  </a:cubicBezTo>
                  <a:cubicBezTo>
                    <a:pt x="524" y="125"/>
                    <a:pt x="530" y="122"/>
                    <a:pt x="567" y="143"/>
                  </a:cubicBezTo>
                  <a:cubicBezTo>
                    <a:pt x="605" y="162"/>
                    <a:pt x="615" y="159"/>
                    <a:pt x="724" y="82"/>
                  </a:cubicBezTo>
                  <a:cubicBezTo>
                    <a:pt x="788" y="37"/>
                    <a:pt x="856" y="0"/>
                    <a:pt x="877" y="0"/>
                  </a:cubicBezTo>
                  <a:cubicBezTo>
                    <a:pt x="912" y="0"/>
                    <a:pt x="914" y="7"/>
                    <a:pt x="914" y="101"/>
                  </a:cubicBezTo>
                  <a:cubicBezTo>
                    <a:pt x="914" y="184"/>
                    <a:pt x="904" y="219"/>
                    <a:pt x="864" y="293"/>
                  </a:cubicBezTo>
                  <a:lnTo>
                    <a:pt x="815" y="384"/>
                  </a:lnTo>
                  <a:lnTo>
                    <a:pt x="872" y="461"/>
                  </a:lnTo>
                  <a:lnTo>
                    <a:pt x="928" y="538"/>
                  </a:lnTo>
                  <a:lnTo>
                    <a:pt x="1101" y="559"/>
                  </a:lnTo>
                  <a:cubicBezTo>
                    <a:pt x="1208" y="571"/>
                    <a:pt x="1304" y="592"/>
                    <a:pt x="1356" y="615"/>
                  </a:cubicBezTo>
                  <a:cubicBezTo>
                    <a:pt x="1436" y="651"/>
                    <a:pt x="1437" y="653"/>
                    <a:pt x="1436" y="720"/>
                  </a:cubicBezTo>
                  <a:cubicBezTo>
                    <a:pt x="1434" y="787"/>
                    <a:pt x="1437" y="792"/>
                    <a:pt x="1512" y="835"/>
                  </a:cubicBezTo>
                  <a:lnTo>
                    <a:pt x="1591" y="882"/>
                  </a:lnTo>
                  <a:lnTo>
                    <a:pt x="1708" y="847"/>
                  </a:lnTo>
                  <a:lnTo>
                    <a:pt x="1826" y="811"/>
                  </a:lnTo>
                  <a:lnTo>
                    <a:pt x="1903" y="875"/>
                  </a:lnTo>
                  <a:cubicBezTo>
                    <a:pt x="1972" y="933"/>
                    <a:pt x="1980" y="946"/>
                    <a:pt x="1988" y="1026"/>
                  </a:cubicBezTo>
                  <a:cubicBezTo>
                    <a:pt x="1992" y="1080"/>
                    <a:pt x="2018" y="1157"/>
                    <a:pt x="2058" y="1235"/>
                  </a:cubicBezTo>
                  <a:lnTo>
                    <a:pt x="2120" y="1360"/>
                  </a:lnTo>
                  <a:lnTo>
                    <a:pt x="2223" y="1360"/>
                  </a:lnTo>
                  <a:cubicBezTo>
                    <a:pt x="2322" y="1360"/>
                    <a:pt x="2328" y="1362"/>
                    <a:pt x="2434" y="1447"/>
                  </a:cubicBezTo>
                  <a:cubicBezTo>
                    <a:pt x="2533" y="1525"/>
                    <a:pt x="2554" y="1535"/>
                    <a:pt x="2684" y="1557"/>
                  </a:cubicBezTo>
                  <a:lnTo>
                    <a:pt x="2824" y="1583"/>
                  </a:lnTo>
                  <a:lnTo>
                    <a:pt x="2936" y="1704"/>
                  </a:lnTo>
                  <a:lnTo>
                    <a:pt x="3048" y="1824"/>
                  </a:lnTo>
                  <a:lnTo>
                    <a:pt x="3357" y="1824"/>
                  </a:lnTo>
                  <a:lnTo>
                    <a:pt x="3540" y="1674"/>
                  </a:lnTo>
                  <a:lnTo>
                    <a:pt x="3631" y="1773"/>
                  </a:lnTo>
                  <a:cubicBezTo>
                    <a:pt x="3717" y="1866"/>
                    <a:pt x="3727" y="1872"/>
                    <a:pt x="3794" y="1872"/>
                  </a:cubicBezTo>
                  <a:cubicBezTo>
                    <a:pt x="3845" y="1872"/>
                    <a:pt x="3888" y="1887"/>
                    <a:pt x="3960" y="1928"/>
                  </a:cubicBezTo>
                  <a:cubicBezTo>
                    <a:pt x="4013" y="1960"/>
                    <a:pt x="4068" y="1992"/>
                    <a:pt x="4080" y="1999"/>
                  </a:cubicBezTo>
                  <a:cubicBezTo>
                    <a:pt x="4095" y="2007"/>
                    <a:pt x="4103" y="2027"/>
                    <a:pt x="4100" y="2053"/>
                  </a:cubicBezTo>
                  <a:cubicBezTo>
                    <a:pt x="4090" y="2131"/>
                    <a:pt x="4152" y="2235"/>
                    <a:pt x="4239" y="2290"/>
                  </a:cubicBezTo>
                  <a:cubicBezTo>
                    <a:pt x="4284" y="2317"/>
                    <a:pt x="4316" y="2347"/>
                    <a:pt x="4311" y="2355"/>
                  </a:cubicBezTo>
                  <a:cubicBezTo>
                    <a:pt x="4292" y="2384"/>
                    <a:pt x="4082" y="2512"/>
                    <a:pt x="4052" y="2512"/>
                  </a:cubicBezTo>
                  <a:cubicBezTo>
                    <a:pt x="4036" y="2512"/>
                    <a:pt x="4008" y="2498"/>
                    <a:pt x="3992" y="2480"/>
                  </a:cubicBezTo>
                  <a:cubicBezTo>
                    <a:pt x="3976" y="2463"/>
                    <a:pt x="3954" y="2448"/>
                    <a:pt x="3943" y="2448"/>
                  </a:cubicBezTo>
                  <a:cubicBezTo>
                    <a:pt x="3932" y="2448"/>
                    <a:pt x="3866" y="2482"/>
                    <a:pt x="3799" y="2523"/>
                  </a:cubicBezTo>
                  <a:lnTo>
                    <a:pt x="3677" y="2599"/>
                  </a:lnTo>
                  <a:lnTo>
                    <a:pt x="3559" y="2538"/>
                  </a:lnTo>
                  <a:cubicBezTo>
                    <a:pt x="3442" y="2477"/>
                    <a:pt x="3437" y="2477"/>
                    <a:pt x="3320" y="2487"/>
                  </a:cubicBezTo>
                  <a:cubicBezTo>
                    <a:pt x="3202" y="2498"/>
                    <a:pt x="3200" y="2498"/>
                    <a:pt x="3183" y="2456"/>
                  </a:cubicBezTo>
                  <a:cubicBezTo>
                    <a:pt x="3172" y="2434"/>
                    <a:pt x="3148" y="2411"/>
                    <a:pt x="3130" y="2408"/>
                  </a:cubicBezTo>
                  <a:cubicBezTo>
                    <a:pt x="3063" y="2395"/>
                    <a:pt x="2805" y="2386"/>
                    <a:pt x="2789" y="2397"/>
                  </a:cubicBezTo>
                  <a:cubicBezTo>
                    <a:pt x="2780" y="2403"/>
                    <a:pt x="2743" y="2485"/>
                    <a:pt x="2708" y="2578"/>
                  </a:cubicBezTo>
                  <a:cubicBezTo>
                    <a:pt x="2618" y="2816"/>
                    <a:pt x="2618" y="2816"/>
                    <a:pt x="2546" y="2816"/>
                  </a:cubicBezTo>
                  <a:cubicBezTo>
                    <a:pt x="2488" y="2816"/>
                    <a:pt x="2477" y="2824"/>
                    <a:pt x="2384" y="2935"/>
                  </a:cubicBezTo>
                  <a:cubicBezTo>
                    <a:pt x="2328" y="3002"/>
                    <a:pt x="2271" y="3055"/>
                    <a:pt x="2258" y="3055"/>
                  </a:cubicBezTo>
                  <a:cubicBezTo>
                    <a:pt x="2245" y="3055"/>
                    <a:pt x="2172" y="3031"/>
                    <a:pt x="2096" y="3003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29" name="Челябинская область">
              <a:extLst>
                <a:ext uri="{FF2B5EF4-FFF2-40B4-BE49-F238E27FC236}">
                  <a16:creationId xmlns="" xmlns:a16="http://schemas.microsoft.com/office/drawing/2014/main" id="{00000000-0008-0000-0300-000088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166" y="6700667"/>
              <a:ext cx="722379" cy="820151"/>
            </a:xfrm>
            <a:custGeom>
              <a:avLst/>
              <a:gdLst/>
              <a:ahLst/>
              <a:cxnLst>
                <a:cxn ang="0">
                  <a:pos x="203" y="1384"/>
                </a:cxn>
                <a:cxn ang="0">
                  <a:pos x="211" y="1309"/>
                </a:cxn>
                <a:cxn ang="0">
                  <a:pos x="128" y="1207"/>
                </a:cxn>
                <a:cxn ang="0">
                  <a:pos x="42" y="1091"/>
                </a:cxn>
                <a:cxn ang="0">
                  <a:pos x="117" y="915"/>
                </a:cxn>
                <a:cxn ang="0">
                  <a:pos x="338" y="695"/>
                </a:cxn>
                <a:cxn ang="0">
                  <a:pos x="512" y="616"/>
                </a:cxn>
                <a:cxn ang="0">
                  <a:pos x="451" y="431"/>
                </a:cxn>
                <a:cxn ang="0">
                  <a:pos x="247" y="416"/>
                </a:cxn>
                <a:cxn ang="0">
                  <a:pos x="103" y="373"/>
                </a:cxn>
                <a:cxn ang="0">
                  <a:pos x="61" y="290"/>
                </a:cxn>
                <a:cxn ang="0">
                  <a:pos x="31" y="221"/>
                </a:cxn>
                <a:cxn ang="0">
                  <a:pos x="71" y="191"/>
                </a:cxn>
                <a:cxn ang="0">
                  <a:pos x="240" y="187"/>
                </a:cxn>
                <a:cxn ang="0">
                  <a:pos x="431" y="247"/>
                </a:cxn>
                <a:cxn ang="0">
                  <a:pos x="629" y="107"/>
                </a:cxn>
                <a:cxn ang="0">
                  <a:pos x="674" y="0"/>
                </a:cxn>
                <a:cxn ang="0">
                  <a:pos x="1083" y="179"/>
                </a:cxn>
                <a:cxn ang="0">
                  <a:pos x="1138" y="306"/>
                </a:cxn>
                <a:cxn ang="0">
                  <a:pos x="1064" y="485"/>
                </a:cxn>
                <a:cxn ang="0">
                  <a:pos x="917" y="725"/>
                </a:cxn>
                <a:cxn ang="0">
                  <a:pos x="1021" y="776"/>
                </a:cxn>
                <a:cxn ang="0">
                  <a:pos x="1125" y="811"/>
                </a:cxn>
                <a:cxn ang="0">
                  <a:pos x="1091" y="880"/>
                </a:cxn>
                <a:cxn ang="0">
                  <a:pos x="824" y="877"/>
                </a:cxn>
                <a:cxn ang="0">
                  <a:pos x="589" y="901"/>
                </a:cxn>
                <a:cxn ang="0">
                  <a:pos x="603" y="1066"/>
                </a:cxn>
                <a:cxn ang="0">
                  <a:pos x="567" y="1184"/>
                </a:cxn>
                <a:cxn ang="0">
                  <a:pos x="367" y="1192"/>
                </a:cxn>
                <a:cxn ang="0">
                  <a:pos x="331" y="1288"/>
                </a:cxn>
                <a:cxn ang="0">
                  <a:pos x="298" y="1384"/>
                </a:cxn>
                <a:cxn ang="0">
                  <a:pos x="203" y="1384"/>
                </a:cxn>
              </a:cxnLst>
              <a:rect l="0" t="0" r="r" b="b"/>
              <a:pathLst>
                <a:path w="1144" h="1415">
                  <a:moveTo>
                    <a:pt x="203" y="1384"/>
                  </a:moveTo>
                  <a:cubicBezTo>
                    <a:pt x="199" y="1371"/>
                    <a:pt x="202" y="1338"/>
                    <a:pt x="211" y="1309"/>
                  </a:cubicBezTo>
                  <a:cubicBezTo>
                    <a:pt x="234" y="1245"/>
                    <a:pt x="216" y="1221"/>
                    <a:pt x="128" y="1207"/>
                  </a:cubicBezTo>
                  <a:cubicBezTo>
                    <a:pt x="7" y="1187"/>
                    <a:pt x="0" y="1178"/>
                    <a:pt x="42" y="1091"/>
                  </a:cubicBezTo>
                  <a:cubicBezTo>
                    <a:pt x="63" y="1050"/>
                    <a:pt x="96" y="971"/>
                    <a:pt x="117" y="915"/>
                  </a:cubicBezTo>
                  <a:cubicBezTo>
                    <a:pt x="163" y="787"/>
                    <a:pt x="272" y="679"/>
                    <a:pt x="338" y="695"/>
                  </a:cubicBezTo>
                  <a:cubicBezTo>
                    <a:pt x="447" y="722"/>
                    <a:pt x="458" y="717"/>
                    <a:pt x="512" y="616"/>
                  </a:cubicBezTo>
                  <a:cubicBezTo>
                    <a:pt x="597" y="459"/>
                    <a:pt x="578" y="402"/>
                    <a:pt x="451" y="431"/>
                  </a:cubicBezTo>
                  <a:cubicBezTo>
                    <a:pt x="397" y="442"/>
                    <a:pt x="351" y="439"/>
                    <a:pt x="247" y="416"/>
                  </a:cubicBezTo>
                  <a:cubicBezTo>
                    <a:pt x="173" y="400"/>
                    <a:pt x="109" y="381"/>
                    <a:pt x="103" y="373"/>
                  </a:cubicBezTo>
                  <a:cubicBezTo>
                    <a:pt x="96" y="365"/>
                    <a:pt x="77" y="328"/>
                    <a:pt x="61" y="290"/>
                  </a:cubicBezTo>
                  <a:lnTo>
                    <a:pt x="31" y="221"/>
                  </a:lnTo>
                  <a:lnTo>
                    <a:pt x="71" y="191"/>
                  </a:lnTo>
                  <a:cubicBezTo>
                    <a:pt x="139" y="136"/>
                    <a:pt x="175" y="136"/>
                    <a:pt x="240" y="187"/>
                  </a:cubicBezTo>
                  <a:cubicBezTo>
                    <a:pt x="291" y="229"/>
                    <a:pt x="320" y="237"/>
                    <a:pt x="431" y="247"/>
                  </a:cubicBezTo>
                  <a:cubicBezTo>
                    <a:pt x="581" y="261"/>
                    <a:pt x="578" y="263"/>
                    <a:pt x="629" y="107"/>
                  </a:cubicBezTo>
                  <a:cubicBezTo>
                    <a:pt x="648" y="48"/>
                    <a:pt x="669" y="0"/>
                    <a:pt x="674" y="0"/>
                  </a:cubicBezTo>
                  <a:cubicBezTo>
                    <a:pt x="707" y="0"/>
                    <a:pt x="1043" y="147"/>
                    <a:pt x="1083" y="179"/>
                  </a:cubicBezTo>
                  <a:cubicBezTo>
                    <a:pt x="1122" y="210"/>
                    <a:pt x="1131" y="231"/>
                    <a:pt x="1138" y="306"/>
                  </a:cubicBezTo>
                  <a:cubicBezTo>
                    <a:pt x="1144" y="395"/>
                    <a:pt x="1144" y="395"/>
                    <a:pt x="1064" y="485"/>
                  </a:cubicBezTo>
                  <a:cubicBezTo>
                    <a:pt x="983" y="575"/>
                    <a:pt x="917" y="682"/>
                    <a:pt x="917" y="725"/>
                  </a:cubicBezTo>
                  <a:cubicBezTo>
                    <a:pt x="917" y="739"/>
                    <a:pt x="955" y="759"/>
                    <a:pt x="1021" y="776"/>
                  </a:cubicBezTo>
                  <a:cubicBezTo>
                    <a:pt x="1079" y="792"/>
                    <a:pt x="1125" y="808"/>
                    <a:pt x="1125" y="811"/>
                  </a:cubicBezTo>
                  <a:cubicBezTo>
                    <a:pt x="1125" y="816"/>
                    <a:pt x="1109" y="847"/>
                    <a:pt x="1091" y="880"/>
                  </a:cubicBezTo>
                  <a:cubicBezTo>
                    <a:pt x="1050" y="954"/>
                    <a:pt x="1034" y="954"/>
                    <a:pt x="824" y="877"/>
                  </a:cubicBezTo>
                  <a:cubicBezTo>
                    <a:pt x="675" y="823"/>
                    <a:pt x="639" y="827"/>
                    <a:pt x="589" y="901"/>
                  </a:cubicBezTo>
                  <a:cubicBezTo>
                    <a:pt x="565" y="939"/>
                    <a:pt x="565" y="949"/>
                    <a:pt x="603" y="1066"/>
                  </a:cubicBezTo>
                  <a:cubicBezTo>
                    <a:pt x="645" y="1199"/>
                    <a:pt x="637" y="1223"/>
                    <a:pt x="567" y="1184"/>
                  </a:cubicBezTo>
                  <a:cubicBezTo>
                    <a:pt x="520" y="1159"/>
                    <a:pt x="395" y="1163"/>
                    <a:pt x="367" y="1192"/>
                  </a:cubicBezTo>
                  <a:cubicBezTo>
                    <a:pt x="354" y="1205"/>
                    <a:pt x="338" y="1248"/>
                    <a:pt x="331" y="1288"/>
                  </a:cubicBezTo>
                  <a:cubicBezTo>
                    <a:pt x="327" y="1328"/>
                    <a:pt x="311" y="1371"/>
                    <a:pt x="298" y="1384"/>
                  </a:cubicBezTo>
                  <a:cubicBezTo>
                    <a:pt x="267" y="1415"/>
                    <a:pt x="215" y="1415"/>
                    <a:pt x="203" y="1384"/>
                  </a:cubicBezTo>
                  <a:close/>
                </a:path>
              </a:pathLst>
            </a:custGeom>
            <a:solidFill>
              <a:srgbClr val="1B3F6B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30" name="Чеченская республика">
              <a:extLst>
                <a:ext uri="{FF2B5EF4-FFF2-40B4-BE49-F238E27FC236}">
                  <a16:creationId xmlns="" xmlns:a16="http://schemas.microsoft.com/office/drawing/2014/main" id="{00000000-0008-0000-0300-000089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6320" y="7990791"/>
              <a:ext cx="321057" cy="211949"/>
            </a:xfrm>
            <a:custGeom>
              <a:avLst/>
              <a:gdLst/>
              <a:ahLst/>
              <a:cxnLst>
                <a:cxn ang="0">
                  <a:pos x="21" y="312"/>
                </a:cxn>
                <a:cxn ang="0">
                  <a:pos x="5" y="243"/>
                </a:cxn>
                <a:cxn ang="0">
                  <a:pos x="192" y="113"/>
                </a:cxn>
                <a:cxn ang="0">
                  <a:pos x="397" y="30"/>
                </a:cxn>
                <a:cxn ang="0">
                  <a:pos x="456" y="62"/>
                </a:cxn>
                <a:cxn ang="0">
                  <a:pos x="432" y="153"/>
                </a:cxn>
                <a:cxn ang="0">
                  <a:pos x="352" y="254"/>
                </a:cxn>
                <a:cxn ang="0">
                  <a:pos x="326" y="329"/>
                </a:cxn>
                <a:cxn ang="0">
                  <a:pos x="211" y="341"/>
                </a:cxn>
                <a:cxn ang="0">
                  <a:pos x="70" y="358"/>
                </a:cxn>
                <a:cxn ang="0">
                  <a:pos x="21" y="312"/>
                </a:cxn>
              </a:cxnLst>
              <a:rect l="0" t="0" r="r" b="b"/>
              <a:pathLst>
                <a:path w="512" h="363">
                  <a:moveTo>
                    <a:pt x="21" y="312"/>
                  </a:moveTo>
                  <a:cubicBezTo>
                    <a:pt x="6" y="283"/>
                    <a:pt x="0" y="251"/>
                    <a:pt x="5" y="243"/>
                  </a:cubicBezTo>
                  <a:cubicBezTo>
                    <a:pt x="11" y="233"/>
                    <a:pt x="94" y="176"/>
                    <a:pt x="192" y="113"/>
                  </a:cubicBezTo>
                  <a:cubicBezTo>
                    <a:pt x="365" y="1"/>
                    <a:pt x="368" y="0"/>
                    <a:pt x="397" y="30"/>
                  </a:cubicBezTo>
                  <a:cubicBezTo>
                    <a:pt x="413" y="48"/>
                    <a:pt x="440" y="62"/>
                    <a:pt x="456" y="62"/>
                  </a:cubicBezTo>
                  <a:cubicBezTo>
                    <a:pt x="512" y="62"/>
                    <a:pt x="494" y="123"/>
                    <a:pt x="432" y="153"/>
                  </a:cubicBezTo>
                  <a:cubicBezTo>
                    <a:pt x="389" y="174"/>
                    <a:pt x="371" y="195"/>
                    <a:pt x="352" y="254"/>
                  </a:cubicBezTo>
                  <a:lnTo>
                    <a:pt x="326" y="329"/>
                  </a:lnTo>
                  <a:lnTo>
                    <a:pt x="211" y="341"/>
                  </a:lnTo>
                  <a:cubicBezTo>
                    <a:pt x="149" y="347"/>
                    <a:pt x="85" y="355"/>
                    <a:pt x="70" y="358"/>
                  </a:cubicBezTo>
                  <a:cubicBezTo>
                    <a:pt x="54" y="363"/>
                    <a:pt x="37" y="347"/>
                    <a:pt x="21" y="312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31" name="Республика Чувашия">
              <a:extLst>
                <a:ext uri="{FF2B5EF4-FFF2-40B4-BE49-F238E27FC236}">
                  <a16:creationId xmlns="" xmlns:a16="http://schemas.microsoft.com/office/drawing/2014/main" id="{00000000-0008-0000-0300-00008A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2234" y="5945023"/>
              <a:ext cx="300991" cy="285671"/>
            </a:xfrm>
            <a:custGeom>
              <a:avLst/>
              <a:gdLst/>
              <a:ahLst/>
              <a:cxnLst>
                <a:cxn ang="0">
                  <a:pos x="56" y="448"/>
                </a:cxn>
                <a:cxn ang="0">
                  <a:pos x="21" y="357"/>
                </a:cxn>
                <a:cxn ang="0">
                  <a:pos x="24" y="287"/>
                </a:cxn>
                <a:cxn ang="0">
                  <a:pos x="63" y="208"/>
                </a:cxn>
                <a:cxn ang="0">
                  <a:pos x="119" y="101"/>
                </a:cxn>
                <a:cxn ang="0">
                  <a:pos x="180" y="7"/>
                </a:cxn>
                <a:cxn ang="0">
                  <a:pos x="325" y="19"/>
                </a:cxn>
                <a:cxn ang="0">
                  <a:pos x="418" y="42"/>
                </a:cxn>
                <a:cxn ang="0">
                  <a:pos x="447" y="128"/>
                </a:cxn>
                <a:cxn ang="0">
                  <a:pos x="484" y="243"/>
                </a:cxn>
                <a:cxn ang="0">
                  <a:pos x="399" y="315"/>
                </a:cxn>
                <a:cxn ang="0">
                  <a:pos x="311" y="411"/>
                </a:cxn>
                <a:cxn ang="0">
                  <a:pos x="191" y="483"/>
                </a:cxn>
                <a:cxn ang="0">
                  <a:pos x="56" y="448"/>
                </a:cxn>
              </a:cxnLst>
              <a:rect l="0" t="0" r="r" b="b"/>
              <a:pathLst>
                <a:path w="490" h="490">
                  <a:moveTo>
                    <a:pt x="56" y="448"/>
                  </a:moveTo>
                  <a:cubicBezTo>
                    <a:pt x="10" y="410"/>
                    <a:pt x="7" y="402"/>
                    <a:pt x="21" y="357"/>
                  </a:cubicBezTo>
                  <a:cubicBezTo>
                    <a:pt x="32" y="328"/>
                    <a:pt x="32" y="299"/>
                    <a:pt x="24" y="287"/>
                  </a:cubicBezTo>
                  <a:cubicBezTo>
                    <a:pt x="0" y="248"/>
                    <a:pt x="8" y="232"/>
                    <a:pt x="63" y="208"/>
                  </a:cubicBezTo>
                  <a:cubicBezTo>
                    <a:pt x="109" y="186"/>
                    <a:pt x="114" y="176"/>
                    <a:pt x="119" y="101"/>
                  </a:cubicBezTo>
                  <a:cubicBezTo>
                    <a:pt x="124" y="19"/>
                    <a:pt x="125" y="16"/>
                    <a:pt x="180" y="7"/>
                  </a:cubicBezTo>
                  <a:cubicBezTo>
                    <a:pt x="210" y="0"/>
                    <a:pt x="274" y="7"/>
                    <a:pt x="325" y="19"/>
                  </a:cubicBezTo>
                  <a:lnTo>
                    <a:pt x="418" y="42"/>
                  </a:lnTo>
                  <a:lnTo>
                    <a:pt x="447" y="128"/>
                  </a:lnTo>
                  <a:cubicBezTo>
                    <a:pt x="461" y="176"/>
                    <a:pt x="479" y="227"/>
                    <a:pt x="484" y="243"/>
                  </a:cubicBezTo>
                  <a:cubicBezTo>
                    <a:pt x="490" y="264"/>
                    <a:pt x="471" y="282"/>
                    <a:pt x="399" y="315"/>
                  </a:cubicBezTo>
                  <a:cubicBezTo>
                    <a:pt x="311" y="357"/>
                    <a:pt x="306" y="363"/>
                    <a:pt x="311" y="411"/>
                  </a:cubicBezTo>
                  <a:cubicBezTo>
                    <a:pt x="316" y="471"/>
                    <a:pt x="309" y="474"/>
                    <a:pt x="191" y="483"/>
                  </a:cubicBezTo>
                  <a:cubicBezTo>
                    <a:pt x="119" y="490"/>
                    <a:pt x="101" y="485"/>
                    <a:pt x="56" y="448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32" name="Чукотский автономный округ">
              <a:extLst>
                <a:ext uri="{FF2B5EF4-FFF2-40B4-BE49-F238E27FC236}">
                  <a16:creationId xmlns="" xmlns:a16="http://schemas.microsoft.com/office/drawing/2014/main" id="{00000000-0008-0000-0300-00008B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26599" y="139462"/>
              <a:ext cx="2177170" cy="2543388"/>
            </a:xfrm>
            <a:custGeom>
              <a:avLst/>
              <a:gdLst/>
              <a:ahLst/>
              <a:cxnLst>
                <a:cxn ang="0">
                  <a:pos x="785" y="4252"/>
                </a:cxn>
                <a:cxn ang="0">
                  <a:pos x="620" y="4149"/>
                </a:cxn>
                <a:cxn ang="0">
                  <a:pos x="363" y="4159"/>
                </a:cxn>
                <a:cxn ang="0">
                  <a:pos x="236" y="3919"/>
                </a:cxn>
                <a:cxn ang="0">
                  <a:pos x="348" y="3623"/>
                </a:cxn>
                <a:cxn ang="0">
                  <a:pos x="419" y="3405"/>
                </a:cxn>
                <a:cxn ang="0">
                  <a:pos x="22" y="3180"/>
                </a:cxn>
                <a:cxn ang="0">
                  <a:pos x="332" y="2616"/>
                </a:cxn>
                <a:cxn ang="0">
                  <a:pos x="547" y="2541"/>
                </a:cxn>
                <a:cxn ang="0">
                  <a:pos x="758" y="2248"/>
                </a:cxn>
                <a:cxn ang="0">
                  <a:pos x="449" y="2175"/>
                </a:cxn>
                <a:cxn ang="0">
                  <a:pos x="673" y="1610"/>
                </a:cxn>
                <a:cxn ang="0">
                  <a:pos x="1940" y="639"/>
                </a:cxn>
                <a:cxn ang="0">
                  <a:pos x="2180" y="701"/>
                </a:cxn>
                <a:cxn ang="0">
                  <a:pos x="2241" y="485"/>
                </a:cxn>
                <a:cxn ang="0">
                  <a:pos x="2204" y="288"/>
                </a:cxn>
                <a:cxn ang="0">
                  <a:pos x="2523" y="4"/>
                </a:cxn>
                <a:cxn ang="0">
                  <a:pos x="2660" y="92"/>
                </a:cxn>
                <a:cxn ang="0">
                  <a:pos x="2868" y="431"/>
                </a:cxn>
                <a:cxn ang="0">
                  <a:pos x="3006" y="639"/>
                </a:cxn>
                <a:cxn ang="0">
                  <a:pos x="2723" y="858"/>
                </a:cxn>
                <a:cxn ang="0">
                  <a:pos x="2484" y="1095"/>
                </a:cxn>
                <a:cxn ang="0">
                  <a:pos x="2166" y="1325"/>
                </a:cxn>
                <a:cxn ang="0">
                  <a:pos x="2371" y="1477"/>
                </a:cxn>
                <a:cxn ang="0">
                  <a:pos x="2588" y="1655"/>
                </a:cxn>
                <a:cxn ang="0">
                  <a:pos x="2550" y="1885"/>
                </a:cxn>
                <a:cxn ang="0">
                  <a:pos x="2792" y="1975"/>
                </a:cxn>
                <a:cxn ang="0">
                  <a:pos x="3206" y="1920"/>
                </a:cxn>
                <a:cxn ang="0">
                  <a:pos x="3472" y="1978"/>
                </a:cxn>
                <a:cxn ang="0">
                  <a:pos x="3294" y="2487"/>
                </a:cxn>
                <a:cxn ang="0">
                  <a:pos x="3228" y="2783"/>
                </a:cxn>
                <a:cxn ang="0">
                  <a:pos x="3116" y="2855"/>
                </a:cxn>
                <a:cxn ang="0">
                  <a:pos x="3036" y="3170"/>
                </a:cxn>
                <a:cxn ang="0">
                  <a:pos x="2995" y="3383"/>
                </a:cxn>
                <a:cxn ang="0">
                  <a:pos x="2710" y="3450"/>
                </a:cxn>
                <a:cxn ang="0">
                  <a:pos x="2552" y="3391"/>
                </a:cxn>
                <a:cxn ang="0">
                  <a:pos x="2144" y="3381"/>
                </a:cxn>
                <a:cxn ang="0">
                  <a:pos x="1942" y="3544"/>
                </a:cxn>
                <a:cxn ang="0">
                  <a:pos x="1628" y="4002"/>
                </a:cxn>
                <a:cxn ang="0">
                  <a:pos x="1318" y="4221"/>
                </a:cxn>
                <a:cxn ang="0">
                  <a:pos x="904" y="4298"/>
                </a:cxn>
              </a:cxnLst>
              <a:rect l="0" t="0" r="r" b="b"/>
              <a:pathLst>
                <a:path w="3472" h="4365">
                  <a:moveTo>
                    <a:pt x="904" y="4298"/>
                  </a:moveTo>
                  <a:cubicBezTo>
                    <a:pt x="833" y="4239"/>
                    <a:pt x="824" y="4234"/>
                    <a:pt x="785" y="4252"/>
                  </a:cubicBezTo>
                  <a:cubicBezTo>
                    <a:pt x="747" y="4269"/>
                    <a:pt x="739" y="4264"/>
                    <a:pt x="681" y="4210"/>
                  </a:cubicBezTo>
                  <a:lnTo>
                    <a:pt x="620" y="4149"/>
                  </a:lnTo>
                  <a:lnTo>
                    <a:pt x="492" y="4154"/>
                  </a:lnTo>
                  <a:lnTo>
                    <a:pt x="363" y="4159"/>
                  </a:lnTo>
                  <a:lnTo>
                    <a:pt x="300" y="4090"/>
                  </a:lnTo>
                  <a:cubicBezTo>
                    <a:pt x="240" y="4024"/>
                    <a:pt x="236" y="4015"/>
                    <a:pt x="236" y="3919"/>
                  </a:cubicBezTo>
                  <a:cubicBezTo>
                    <a:pt x="236" y="3826"/>
                    <a:pt x="241" y="3812"/>
                    <a:pt x="292" y="3749"/>
                  </a:cubicBezTo>
                  <a:cubicBezTo>
                    <a:pt x="334" y="3700"/>
                    <a:pt x="348" y="3666"/>
                    <a:pt x="348" y="3623"/>
                  </a:cubicBezTo>
                  <a:cubicBezTo>
                    <a:pt x="348" y="3581"/>
                    <a:pt x="363" y="3546"/>
                    <a:pt x="400" y="3501"/>
                  </a:cubicBezTo>
                  <a:cubicBezTo>
                    <a:pt x="449" y="3439"/>
                    <a:pt x="449" y="3439"/>
                    <a:pt x="419" y="3405"/>
                  </a:cubicBezTo>
                  <a:cubicBezTo>
                    <a:pt x="361" y="3341"/>
                    <a:pt x="244" y="3268"/>
                    <a:pt x="140" y="3231"/>
                  </a:cubicBezTo>
                  <a:cubicBezTo>
                    <a:pt x="83" y="3210"/>
                    <a:pt x="30" y="3188"/>
                    <a:pt x="22" y="3180"/>
                  </a:cubicBezTo>
                  <a:cubicBezTo>
                    <a:pt x="0" y="3160"/>
                    <a:pt x="48" y="3069"/>
                    <a:pt x="179" y="2887"/>
                  </a:cubicBezTo>
                  <a:cubicBezTo>
                    <a:pt x="316" y="2698"/>
                    <a:pt x="332" y="2669"/>
                    <a:pt x="332" y="2616"/>
                  </a:cubicBezTo>
                  <a:cubicBezTo>
                    <a:pt x="332" y="2594"/>
                    <a:pt x="342" y="2570"/>
                    <a:pt x="352" y="2564"/>
                  </a:cubicBezTo>
                  <a:cubicBezTo>
                    <a:pt x="363" y="2557"/>
                    <a:pt x="451" y="2548"/>
                    <a:pt x="547" y="2541"/>
                  </a:cubicBezTo>
                  <a:cubicBezTo>
                    <a:pt x="657" y="2533"/>
                    <a:pt x="728" y="2522"/>
                    <a:pt x="740" y="2508"/>
                  </a:cubicBezTo>
                  <a:cubicBezTo>
                    <a:pt x="768" y="2479"/>
                    <a:pt x="782" y="2277"/>
                    <a:pt x="758" y="2248"/>
                  </a:cubicBezTo>
                  <a:cubicBezTo>
                    <a:pt x="747" y="2232"/>
                    <a:pt x="700" y="2223"/>
                    <a:pt x="620" y="2220"/>
                  </a:cubicBezTo>
                  <a:cubicBezTo>
                    <a:pt x="524" y="2215"/>
                    <a:pt x="491" y="2207"/>
                    <a:pt x="449" y="2175"/>
                  </a:cubicBezTo>
                  <a:cubicBezTo>
                    <a:pt x="420" y="2154"/>
                    <a:pt x="396" y="2125"/>
                    <a:pt x="396" y="2114"/>
                  </a:cubicBezTo>
                  <a:cubicBezTo>
                    <a:pt x="396" y="2092"/>
                    <a:pt x="572" y="1770"/>
                    <a:pt x="673" y="1610"/>
                  </a:cubicBezTo>
                  <a:cubicBezTo>
                    <a:pt x="723" y="1530"/>
                    <a:pt x="908" y="1357"/>
                    <a:pt x="1134" y="1183"/>
                  </a:cubicBezTo>
                  <a:cubicBezTo>
                    <a:pt x="1356" y="1010"/>
                    <a:pt x="1907" y="639"/>
                    <a:pt x="1940" y="639"/>
                  </a:cubicBezTo>
                  <a:cubicBezTo>
                    <a:pt x="1958" y="639"/>
                    <a:pt x="2012" y="653"/>
                    <a:pt x="2060" y="671"/>
                  </a:cubicBezTo>
                  <a:cubicBezTo>
                    <a:pt x="2108" y="688"/>
                    <a:pt x="2163" y="703"/>
                    <a:pt x="2180" y="701"/>
                  </a:cubicBezTo>
                  <a:cubicBezTo>
                    <a:pt x="2224" y="701"/>
                    <a:pt x="2387" y="586"/>
                    <a:pt x="2395" y="551"/>
                  </a:cubicBezTo>
                  <a:cubicBezTo>
                    <a:pt x="2403" y="511"/>
                    <a:pt x="2374" y="498"/>
                    <a:pt x="2241" y="485"/>
                  </a:cubicBezTo>
                  <a:cubicBezTo>
                    <a:pt x="2123" y="474"/>
                    <a:pt x="2099" y="456"/>
                    <a:pt x="2148" y="415"/>
                  </a:cubicBezTo>
                  <a:cubicBezTo>
                    <a:pt x="2161" y="404"/>
                    <a:pt x="2187" y="348"/>
                    <a:pt x="2204" y="288"/>
                  </a:cubicBezTo>
                  <a:cubicBezTo>
                    <a:pt x="2236" y="183"/>
                    <a:pt x="2236" y="181"/>
                    <a:pt x="2368" y="96"/>
                  </a:cubicBezTo>
                  <a:cubicBezTo>
                    <a:pt x="2438" y="48"/>
                    <a:pt x="2508" y="7"/>
                    <a:pt x="2523" y="4"/>
                  </a:cubicBezTo>
                  <a:cubicBezTo>
                    <a:pt x="2537" y="0"/>
                    <a:pt x="2574" y="20"/>
                    <a:pt x="2604" y="45"/>
                  </a:cubicBezTo>
                  <a:lnTo>
                    <a:pt x="2660" y="92"/>
                  </a:lnTo>
                  <a:lnTo>
                    <a:pt x="2632" y="200"/>
                  </a:lnTo>
                  <a:cubicBezTo>
                    <a:pt x="2584" y="388"/>
                    <a:pt x="2576" y="380"/>
                    <a:pt x="2868" y="431"/>
                  </a:cubicBezTo>
                  <a:cubicBezTo>
                    <a:pt x="2972" y="448"/>
                    <a:pt x="3068" y="471"/>
                    <a:pt x="3080" y="480"/>
                  </a:cubicBezTo>
                  <a:cubicBezTo>
                    <a:pt x="3132" y="525"/>
                    <a:pt x="3080" y="639"/>
                    <a:pt x="3006" y="639"/>
                  </a:cubicBezTo>
                  <a:cubicBezTo>
                    <a:pt x="2950" y="639"/>
                    <a:pt x="2929" y="656"/>
                    <a:pt x="2844" y="772"/>
                  </a:cubicBezTo>
                  <a:cubicBezTo>
                    <a:pt x="2780" y="860"/>
                    <a:pt x="2774" y="866"/>
                    <a:pt x="2723" y="858"/>
                  </a:cubicBezTo>
                  <a:cubicBezTo>
                    <a:pt x="2678" y="850"/>
                    <a:pt x="2657" y="858"/>
                    <a:pt x="2590" y="912"/>
                  </a:cubicBezTo>
                  <a:cubicBezTo>
                    <a:pt x="2507" y="978"/>
                    <a:pt x="2500" y="989"/>
                    <a:pt x="2484" y="1095"/>
                  </a:cubicBezTo>
                  <a:cubicBezTo>
                    <a:pt x="2464" y="1223"/>
                    <a:pt x="2473" y="1215"/>
                    <a:pt x="2328" y="1204"/>
                  </a:cubicBezTo>
                  <a:cubicBezTo>
                    <a:pt x="2166" y="1192"/>
                    <a:pt x="2150" y="1204"/>
                    <a:pt x="2166" y="1325"/>
                  </a:cubicBezTo>
                  <a:cubicBezTo>
                    <a:pt x="2172" y="1368"/>
                    <a:pt x="2185" y="1416"/>
                    <a:pt x="2195" y="1429"/>
                  </a:cubicBezTo>
                  <a:cubicBezTo>
                    <a:pt x="2206" y="1445"/>
                    <a:pt x="2272" y="1463"/>
                    <a:pt x="2371" y="1477"/>
                  </a:cubicBezTo>
                  <a:cubicBezTo>
                    <a:pt x="2457" y="1490"/>
                    <a:pt x="2536" y="1506"/>
                    <a:pt x="2542" y="1514"/>
                  </a:cubicBezTo>
                  <a:cubicBezTo>
                    <a:pt x="2550" y="1522"/>
                    <a:pt x="2571" y="1584"/>
                    <a:pt x="2588" y="1655"/>
                  </a:cubicBezTo>
                  <a:lnTo>
                    <a:pt x="2620" y="1781"/>
                  </a:lnTo>
                  <a:lnTo>
                    <a:pt x="2550" y="1885"/>
                  </a:lnTo>
                  <a:cubicBezTo>
                    <a:pt x="2462" y="2012"/>
                    <a:pt x="2470" y="2031"/>
                    <a:pt x="2611" y="2031"/>
                  </a:cubicBezTo>
                  <a:cubicBezTo>
                    <a:pt x="2697" y="2031"/>
                    <a:pt x="2720" y="2023"/>
                    <a:pt x="2792" y="1975"/>
                  </a:cubicBezTo>
                  <a:cubicBezTo>
                    <a:pt x="2884" y="1912"/>
                    <a:pt x="2894" y="1911"/>
                    <a:pt x="3020" y="1936"/>
                  </a:cubicBezTo>
                  <a:cubicBezTo>
                    <a:pt x="3099" y="1952"/>
                    <a:pt x="3120" y="1951"/>
                    <a:pt x="3206" y="1920"/>
                  </a:cubicBezTo>
                  <a:cubicBezTo>
                    <a:pt x="3334" y="1876"/>
                    <a:pt x="3374" y="1877"/>
                    <a:pt x="3427" y="1932"/>
                  </a:cubicBezTo>
                  <a:lnTo>
                    <a:pt x="3472" y="1978"/>
                  </a:lnTo>
                  <a:lnTo>
                    <a:pt x="3232" y="2234"/>
                  </a:lnTo>
                  <a:lnTo>
                    <a:pt x="3294" y="2487"/>
                  </a:lnTo>
                  <a:cubicBezTo>
                    <a:pt x="3329" y="2626"/>
                    <a:pt x="3355" y="2749"/>
                    <a:pt x="3350" y="2760"/>
                  </a:cubicBezTo>
                  <a:cubicBezTo>
                    <a:pt x="3344" y="2776"/>
                    <a:pt x="3308" y="2783"/>
                    <a:pt x="3228" y="2783"/>
                  </a:cubicBezTo>
                  <a:lnTo>
                    <a:pt x="3116" y="2783"/>
                  </a:lnTo>
                  <a:lnTo>
                    <a:pt x="3116" y="2855"/>
                  </a:lnTo>
                  <a:cubicBezTo>
                    <a:pt x="3116" y="2896"/>
                    <a:pt x="3099" y="2968"/>
                    <a:pt x="3076" y="3023"/>
                  </a:cubicBezTo>
                  <a:cubicBezTo>
                    <a:pt x="3054" y="3074"/>
                    <a:pt x="3036" y="3141"/>
                    <a:pt x="3036" y="3170"/>
                  </a:cubicBezTo>
                  <a:cubicBezTo>
                    <a:pt x="3036" y="3199"/>
                    <a:pt x="3027" y="3258"/>
                    <a:pt x="3016" y="3303"/>
                  </a:cubicBezTo>
                  <a:lnTo>
                    <a:pt x="2995" y="3383"/>
                  </a:lnTo>
                  <a:lnTo>
                    <a:pt x="2883" y="3391"/>
                  </a:lnTo>
                  <a:cubicBezTo>
                    <a:pt x="2784" y="3397"/>
                    <a:pt x="2763" y="3405"/>
                    <a:pt x="2710" y="3450"/>
                  </a:cubicBezTo>
                  <a:cubicBezTo>
                    <a:pt x="2678" y="3479"/>
                    <a:pt x="2643" y="3503"/>
                    <a:pt x="2632" y="3503"/>
                  </a:cubicBezTo>
                  <a:cubicBezTo>
                    <a:pt x="2622" y="3501"/>
                    <a:pt x="2585" y="3452"/>
                    <a:pt x="2552" y="3391"/>
                  </a:cubicBezTo>
                  <a:cubicBezTo>
                    <a:pt x="2484" y="3263"/>
                    <a:pt x="2481" y="3263"/>
                    <a:pt x="2310" y="3303"/>
                  </a:cubicBezTo>
                  <a:cubicBezTo>
                    <a:pt x="2171" y="3335"/>
                    <a:pt x="2163" y="3338"/>
                    <a:pt x="2144" y="3381"/>
                  </a:cubicBezTo>
                  <a:cubicBezTo>
                    <a:pt x="2132" y="3408"/>
                    <a:pt x="2108" y="3423"/>
                    <a:pt x="2065" y="3429"/>
                  </a:cubicBezTo>
                  <a:cubicBezTo>
                    <a:pt x="2011" y="3439"/>
                    <a:pt x="1998" y="3452"/>
                    <a:pt x="1942" y="3544"/>
                  </a:cubicBezTo>
                  <a:cubicBezTo>
                    <a:pt x="1908" y="3602"/>
                    <a:pt x="1841" y="3682"/>
                    <a:pt x="1795" y="3722"/>
                  </a:cubicBezTo>
                  <a:cubicBezTo>
                    <a:pt x="1664" y="3834"/>
                    <a:pt x="1628" y="3893"/>
                    <a:pt x="1628" y="4002"/>
                  </a:cubicBezTo>
                  <a:cubicBezTo>
                    <a:pt x="1628" y="4111"/>
                    <a:pt x="1601" y="4136"/>
                    <a:pt x="1467" y="4152"/>
                  </a:cubicBezTo>
                  <a:cubicBezTo>
                    <a:pt x="1400" y="4160"/>
                    <a:pt x="1369" y="4173"/>
                    <a:pt x="1318" y="4221"/>
                  </a:cubicBezTo>
                  <a:cubicBezTo>
                    <a:pt x="1262" y="4271"/>
                    <a:pt x="1052" y="4365"/>
                    <a:pt x="996" y="4365"/>
                  </a:cubicBezTo>
                  <a:cubicBezTo>
                    <a:pt x="988" y="4365"/>
                    <a:pt x="945" y="4335"/>
                    <a:pt x="904" y="4298"/>
                  </a:cubicBezTo>
                  <a:close/>
                </a:path>
              </a:pathLst>
            </a:custGeom>
            <a:solidFill>
              <a:srgbClr val="E1EFF6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33" name="Ямало-Ненецкий автономный округ">
              <a:extLst>
                <a:ext uri="{FF2B5EF4-FFF2-40B4-BE49-F238E27FC236}">
                  <a16:creationId xmlns="" xmlns:a16="http://schemas.microsoft.com/office/drawing/2014/main" id="{00000000-0008-0000-0300-00008C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31255" y="3705735"/>
              <a:ext cx="2217302" cy="2414376"/>
            </a:xfrm>
            <a:custGeom>
              <a:avLst/>
              <a:gdLst/>
              <a:ahLst/>
              <a:cxnLst>
                <a:cxn ang="0">
                  <a:pos x="2952" y="4048"/>
                </a:cxn>
                <a:cxn ang="0">
                  <a:pos x="2578" y="3920"/>
                </a:cxn>
                <a:cxn ang="0">
                  <a:pos x="2208" y="4000"/>
                </a:cxn>
                <a:cxn ang="0">
                  <a:pos x="1848" y="3736"/>
                </a:cxn>
                <a:cxn ang="0">
                  <a:pos x="1383" y="3535"/>
                </a:cxn>
                <a:cxn ang="0">
                  <a:pos x="1221" y="3403"/>
                </a:cxn>
                <a:cxn ang="0">
                  <a:pos x="1079" y="3064"/>
                </a:cxn>
                <a:cxn ang="0">
                  <a:pos x="840" y="3023"/>
                </a:cxn>
                <a:cxn ang="0">
                  <a:pos x="674" y="3015"/>
                </a:cxn>
                <a:cxn ang="0">
                  <a:pos x="253" y="2735"/>
                </a:cxn>
                <a:cxn ang="0">
                  <a:pos x="50" y="2493"/>
                </a:cxn>
                <a:cxn ang="0">
                  <a:pos x="90" y="2178"/>
                </a:cxn>
                <a:cxn ang="0">
                  <a:pos x="264" y="2087"/>
                </a:cxn>
                <a:cxn ang="0">
                  <a:pos x="789" y="1843"/>
                </a:cxn>
                <a:cxn ang="0">
                  <a:pos x="920" y="1583"/>
                </a:cxn>
                <a:cxn ang="0">
                  <a:pos x="970" y="1349"/>
                </a:cxn>
                <a:cxn ang="0">
                  <a:pos x="927" y="1120"/>
                </a:cxn>
                <a:cxn ang="0">
                  <a:pos x="1292" y="1600"/>
                </a:cxn>
                <a:cxn ang="0">
                  <a:pos x="1410" y="1338"/>
                </a:cxn>
                <a:cxn ang="0">
                  <a:pos x="1348" y="1066"/>
                </a:cxn>
                <a:cxn ang="0">
                  <a:pos x="1325" y="968"/>
                </a:cxn>
                <a:cxn ang="0">
                  <a:pos x="1455" y="623"/>
                </a:cxn>
                <a:cxn ang="0">
                  <a:pos x="1840" y="167"/>
                </a:cxn>
                <a:cxn ang="0">
                  <a:pos x="2221" y="80"/>
                </a:cxn>
                <a:cxn ang="0">
                  <a:pos x="2103" y="394"/>
                </a:cxn>
                <a:cxn ang="0">
                  <a:pos x="2018" y="691"/>
                </a:cxn>
                <a:cxn ang="0">
                  <a:pos x="1960" y="1067"/>
                </a:cxn>
                <a:cxn ang="0">
                  <a:pos x="1848" y="1463"/>
                </a:cxn>
                <a:cxn ang="0">
                  <a:pos x="1930" y="1690"/>
                </a:cxn>
                <a:cxn ang="0">
                  <a:pos x="1784" y="1936"/>
                </a:cxn>
                <a:cxn ang="0">
                  <a:pos x="1503" y="2176"/>
                </a:cxn>
                <a:cxn ang="0">
                  <a:pos x="1213" y="2283"/>
                </a:cxn>
                <a:cxn ang="0">
                  <a:pos x="1885" y="2282"/>
                </a:cxn>
                <a:cxn ang="0">
                  <a:pos x="2136" y="2079"/>
                </a:cxn>
                <a:cxn ang="0">
                  <a:pos x="2244" y="1655"/>
                </a:cxn>
                <a:cxn ang="0">
                  <a:pos x="2501" y="1984"/>
                </a:cxn>
                <a:cxn ang="0">
                  <a:pos x="2652" y="1919"/>
                </a:cxn>
                <a:cxn ang="0">
                  <a:pos x="2616" y="1655"/>
                </a:cxn>
                <a:cxn ang="0">
                  <a:pos x="2274" y="1448"/>
                </a:cxn>
                <a:cxn ang="0">
                  <a:pos x="2216" y="1112"/>
                </a:cxn>
                <a:cxn ang="0">
                  <a:pos x="2258" y="792"/>
                </a:cxn>
                <a:cxn ang="0">
                  <a:pos x="2517" y="365"/>
                </a:cxn>
                <a:cxn ang="0">
                  <a:pos x="2408" y="703"/>
                </a:cxn>
                <a:cxn ang="0">
                  <a:pos x="2856" y="834"/>
                </a:cxn>
                <a:cxn ang="0">
                  <a:pos x="2648" y="555"/>
                </a:cxn>
                <a:cxn ang="0">
                  <a:pos x="2842" y="559"/>
                </a:cxn>
                <a:cxn ang="0">
                  <a:pos x="2808" y="327"/>
                </a:cxn>
                <a:cxn ang="0">
                  <a:pos x="2888" y="437"/>
                </a:cxn>
                <a:cxn ang="0">
                  <a:pos x="3053" y="610"/>
                </a:cxn>
                <a:cxn ang="0">
                  <a:pos x="2904" y="778"/>
                </a:cxn>
                <a:cxn ang="0">
                  <a:pos x="3031" y="1090"/>
                </a:cxn>
                <a:cxn ang="0">
                  <a:pos x="2786" y="1339"/>
                </a:cxn>
                <a:cxn ang="0">
                  <a:pos x="3052" y="1621"/>
                </a:cxn>
                <a:cxn ang="0">
                  <a:pos x="3184" y="1741"/>
                </a:cxn>
                <a:cxn ang="0">
                  <a:pos x="3144" y="2015"/>
                </a:cxn>
                <a:cxn ang="0">
                  <a:pos x="3082" y="2298"/>
                </a:cxn>
                <a:cxn ang="0">
                  <a:pos x="3205" y="2752"/>
                </a:cxn>
                <a:cxn ang="0">
                  <a:pos x="3336" y="3138"/>
                </a:cxn>
                <a:cxn ang="0">
                  <a:pos x="3544" y="3495"/>
                </a:cxn>
                <a:cxn ang="0">
                  <a:pos x="3412" y="3795"/>
                </a:cxn>
                <a:cxn ang="0">
                  <a:pos x="3464" y="3986"/>
                </a:cxn>
                <a:cxn ang="0">
                  <a:pos x="3141" y="4120"/>
                </a:cxn>
              </a:cxnLst>
              <a:rect l="0" t="0" r="r" b="b"/>
              <a:pathLst>
                <a:path w="3544" h="4192">
                  <a:moveTo>
                    <a:pt x="3141" y="4120"/>
                  </a:moveTo>
                  <a:cubicBezTo>
                    <a:pt x="3050" y="4066"/>
                    <a:pt x="3000" y="4048"/>
                    <a:pt x="2952" y="4048"/>
                  </a:cubicBezTo>
                  <a:cubicBezTo>
                    <a:pt x="2895" y="4048"/>
                    <a:pt x="2879" y="4039"/>
                    <a:pt x="2805" y="3959"/>
                  </a:cubicBezTo>
                  <a:cubicBezTo>
                    <a:pt x="2685" y="3829"/>
                    <a:pt x="2685" y="3829"/>
                    <a:pt x="2578" y="3920"/>
                  </a:cubicBezTo>
                  <a:lnTo>
                    <a:pt x="2485" y="4000"/>
                  </a:lnTo>
                  <a:lnTo>
                    <a:pt x="2208" y="4000"/>
                  </a:lnTo>
                  <a:lnTo>
                    <a:pt x="1994" y="3763"/>
                  </a:lnTo>
                  <a:lnTo>
                    <a:pt x="1848" y="3736"/>
                  </a:lnTo>
                  <a:cubicBezTo>
                    <a:pt x="1714" y="3709"/>
                    <a:pt x="1693" y="3699"/>
                    <a:pt x="1594" y="3621"/>
                  </a:cubicBezTo>
                  <a:cubicBezTo>
                    <a:pt x="1488" y="3539"/>
                    <a:pt x="1480" y="3536"/>
                    <a:pt x="1383" y="3535"/>
                  </a:cubicBezTo>
                  <a:lnTo>
                    <a:pt x="1282" y="3535"/>
                  </a:lnTo>
                  <a:lnTo>
                    <a:pt x="1221" y="3403"/>
                  </a:lnTo>
                  <a:cubicBezTo>
                    <a:pt x="1183" y="3317"/>
                    <a:pt x="1162" y="3248"/>
                    <a:pt x="1162" y="3205"/>
                  </a:cubicBezTo>
                  <a:cubicBezTo>
                    <a:pt x="1162" y="3144"/>
                    <a:pt x="1154" y="3131"/>
                    <a:pt x="1079" y="3064"/>
                  </a:cubicBezTo>
                  <a:cubicBezTo>
                    <a:pt x="1032" y="3024"/>
                    <a:pt x="983" y="2992"/>
                    <a:pt x="968" y="2992"/>
                  </a:cubicBezTo>
                  <a:cubicBezTo>
                    <a:pt x="952" y="2992"/>
                    <a:pt x="896" y="3005"/>
                    <a:pt x="840" y="3023"/>
                  </a:cubicBezTo>
                  <a:lnTo>
                    <a:pt x="741" y="3055"/>
                  </a:lnTo>
                  <a:lnTo>
                    <a:pt x="674" y="3015"/>
                  </a:lnTo>
                  <a:cubicBezTo>
                    <a:pt x="613" y="2979"/>
                    <a:pt x="607" y="2970"/>
                    <a:pt x="607" y="2909"/>
                  </a:cubicBezTo>
                  <a:cubicBezTo>
                    <a:pt x="607" y="2807"/>
                    <a:pt x="525" y="2767"/>
                    <a:pt x="253" y="2735"/>
                  </a:cubicBezTo>
                  <a:cubicBezTo>
                    <a:pt x="90" y="2715"/>
                    <a:pt x="88" y="2715"/>
                    <a:pt x="50" y="2658"/>
                  </a:cubicBezTo>
                  <a:cubicBezTo>
                    <a:pt x="0" y="2586"/>
                    <a:pt x="0" y="2579"/>
                    <a:pt x="50" y="2493"/>
                  </a:cubicBezTo>
                  <a:cubicBezTo>
                    <a:pt x="82" y="2435"/>
                    <a:pt x="90" y="2402"/>
                    <a:pt x="90" y="2301"/>
                  </a:cubicBezTo>
                  <a:lnTo>
                    <a:pt x="90" y="2178"/>
                  </a:lnTo>
                  <a:lnTo>
                    <a:pt x="138" y="2168"/>
                  </a:lnTo>
                  <a:cubicBezTo>
                    <a:pt x="164" y="2162"/>
                    <a:pt x="221" y="2125"/>
                    <a:pt x="264" y="2087"/>
                  </a:cubicBezTo>
                  <a:cubicBezTo>
                    <a:pt x="338" y="2019"/>
                    <a:pt x="356" y="2013"/>
                    <a:pt x="485" y="1991"/>
                  </a:cubicBezTo>
                  <a:cubicBezTo>
                    <a:pt x="677" y="1957"/>
                    <a:pt x="663" y="1963"/>
                    <a:pt x="789" y="1843"/>
                  </a:cubicBezTo>
                  <a:cubicBezTo>
                    <a:pt x="872" y="1763"/>
                    <a:pt x="909" y="1715"/>
                    <a:pt x="924" y="1666"/>
                  </a:cubicBezTo>
                  <a:cubicBezTo>
                    <a:pt x="941" y="1607"/>
                    <a:pt x="941" y="1594"/>
                    <a:pt x="920" y="1583"/>
                  </a:cubicBezTo>
                  <a:cubicBezTo>
                    <a:pt x="850" y="1539"/>
                    <a:pt x="850" y="1543"/>
                    <a:pt x="911" y="1453"/>
                  </a:cubicBezTo>
                  <a:cubicBezTo>
                    <a:pt x="944" y="1407"/>
                    <a:pt x="970" y="1359"/>
                    <a:pt x="970" y="1349"/>
                  </a:cubicBezTo>
                  <a:cubicBezTo>
                    <a:pt x="970" y="1339"/>
                    <a:pt x="951" y="1293"/>
                    <a:pt x="928" y="1248"/>
                  </a:cubicBezTo>
                  <a:cubicBezTo>
                    <a:pt x="887" y="1165"/>
                    <a:pt x="887" y="1120"/>
                    <a:pt x="927" y="1120"/>
                  </a:cubicBezTo>
                  <a:cubicBezTo>
                    <a:pt x="938" y="1120"/>
                    <a:pt x="1018" y="1227"/>
                    <a:pt x="1104" y="1360"/>
                  </a:cubicBezTo>
                  <a:cubicBezTo>
                    <a:pt x="1216" y="1530"/>
                    <a:pt x="1271" y="1600"/>
                    <a:pt x="1292" y="1600"/>
                  </a:cubicBezTo>
                  <a:cubicBezTo>
                    <a:pt x="1311" y="1600"/>
                    <a:pt x="1341" y="1571"/>
                    <a:pt x="1372" y="1523"/>
                  </a:cubicBezTo>
                  <a:cubicBezTo>
                    <a:pt x="1434" y="1424"/>
                    <a:pt x="1442" y="1387"/>
                    <a:pt x="1410" y="1338"/>
                  </a:cubicBezTo>
                  <a:cubicBezTo>
                    <a:pt x="1389" y="1306"/>
                    <a:pt x="1386" y="1279"/>
                    <a:pt x="1396" y="1207"/>
                  </a:cubicBezTo>
                  <a:cubicBezTo>
                    <a:pt x="1407" y="1115"/>
                    <a:pt x="1407" y="1115"/>
                    <a:pt x="1348" y="1066"/>
                  </a:cubicBezTo>
                  <a:lnTo>
                    <a:pt x="1287" y="1016"/>
                  </a:lnTo>
                  <a:lnTo>
                    <a:pt x="1325" y="968"/>
                  </a:lnTo>
                  <a:cubicBezTo>
                    <a:pt x="1344" y="943"/>
                    <a:pt x="1389" y="864"/>
                    <a:pt x="1421" y="794"/>
                  </a:cubicBezTo>
                  <a:cubicBezTo>
                    <a:pt x="1477" y="671"/>
                    <a:pt x="1479" y="664"/>
                    <a:pt x="1455" y="623"/>
                  </a:cubicBezTo>
                  <a:cubicBezTo>
                    <a:pt x="1412" y="549"/>
                    <a:pt x="1436" y="509"/>
                    <a:pt x="1584" y="416"/>
                  </a:cubicBezTo>
                  <a:cubicBezTo>
                    <a:pt x="1704" y="341"/>
                    <a:pt x="1732" y="314"/>
                    <a:pt x="1840" y="167"/>
                  </a:cubicBezTo>
                  <a:cubicBezTo>
                    <a:pt x="1919" y="59"/>
                    <a:pt x="1973" y="0"/>
                    <a:pt x="1992" y="0"/>
                  </a:cubicBezTo>
                  <a:cubicBezTo>
                    <a:pt x="2023" y="0"/>
                    <a:pt x="2200" y="61"/>
                    <a:pt x="2221" y="80"/>
                  </a:cubicBezTo>
                  <a:cubicBezTo>
                    <a:pt x="2229" y="87"/>
                    <a:pt x="2229" y="128"/>
                    <a:pt x="2223" y="175"/>
                  </a:cubicBezTo>
                  <a:cubicBezTo>
                    <a:pt x="2213" y="245"/>
                    <a:pt x="2196" y="277"/>
                    <a:pt x="2103" y="394"/>
                  </a:cubicBezTo>
                  <a:cubicBezTo>
                    <a:pt x="2042" y="471"/>
                    <a:pt x="1992" y="546"/>
                    <a:pt x="1992" y="565"/>
                  </a:cubicBezTo>
                  <a:cubicBezTo>
                    <a:pt x="1992" y="583"/>
                    <a:pt x="2004" y="640"/>
                    <a:pt x="2018" y="691"/>
                  </a:cubicBezTo>
                  <a:cubicBezTo>
                    <a:pt x="2044" y="783"/>
                    <a:pt x="2044" y="786"/>
                    <a:pt x="2002" y="911"/>
                  </a:cubicBezTo>
                  <a:cubicBezTo>
                    <a:pt x="1980" y="981"/>
                    <a:pt x="1960" y="1051"/>
                    <a:pt x="1960" y="1067"/>
                  </a:cubicBezTo>
                  <a:cubicBezTo>
                    <a:pt x="1960" y="1083"/>
                    <a:pt x="1935" y="1173"/>
                    <a:pt x="1904" y="1264"/>
                  </a:cubicBezTo>
                  <a:cubicBezTo>
                    <a:pt x="1874" y="1355"/>
                    <a:pt x="1848" y="1445"/>
                    <a:pt x="1848" y="1463"/>
                  </a:cubicBezTo>
                  <a:cubicBezTo>
                    <a:pt x="1848" y="1480"/>
                    <a:pt x="1868" y="1539"/>
                    <a:pt x="1890" y="1592"/>
                  </a:cubicBezTo>
                  <a:lnTo>
                    <a:pt x="1930" y="1690"/>
                  </a:lnTo>
                  <a:lnTo>
                    <a:pt x="1864" y="1813"/>
                  </a:lnTo>
                  <a:cubicBezTo>
                    <a:pt x="1828" y="1880"/>
                    <a:pt x="1792" y="1936"/>
                    <a:pt x="1784" y="1936"/>
                  </a:cubicBezTo>
                  <a:cubicBezTo>
                    <a:pt x="1776" y="1936"/>
                    <a:pt x="1727" y="1989"/>
                    <a:pt x="1672" y="2056"/>
                  </a:cubicBezTo>
                  <a:cubicBezTo>
                    <a:pt x="1578" y="2173"/>
                    <a:pt x="1575" y="2176"/>
                    <a:pt x="1503" y="2176"/>
                  </a:cubicBezTo>
                  <a:cubicBezTo>
                    <a:pt x="1464" y="2176"/>
                    <a:pt x="1381" y="2160"/>
                    <a:pt x="1322" y="2143"/>
                  </a:cubicBezTo>
                  <a:cubicBezTo>
                    <a:pt x="1098" y="2074"/>
                    <a:pt x="1058" y="2125"/>
                    <a:pt x="1213" y="2283"/>
                  </a:cubicBezTo>
                  <a:cubicBezTo>
                    <a:pt x="1324" y="2397"/>
                    <a:pt x="1442" y="2463"/>
                    <a:pt x="1533" y="2464"/>
                  </a:cubicBezTo>
                  <a:cubicBezTo>
                    <a:pt x="1629" y="2464"/>
                    <a:pt x="1815" y="2370"/>
                    <a:pt x="1885" y="2282"/>
                  </a:cubicBezTo>
                  <a:cubicBezTo>
                    <a:pt x="1919" y="2240"/>
                    <a:pt x="1989" y="2178"/>
                    <a:pt x="2042" y="2143"/>
                  </a:cubicBezTo>
                  <a:lnTo>
                    <a:pt x="2136" y="2079"/>
                  </a:lnTo>
                  <a:lnTo>
                    <a:pt x="2136" y="1896"/>
                  </a:lnTo>
                  <a:cubicBezTo>
                    <a:pt x="2136" y="1691"/>
                    <a:pt x="2144" y="1672"/>
                    <a:pt x="2244" y="1655"/>
                  </a:cubicBezTo>
                  <a:cubicBezTo>
                    <a:pt x="2335" y="1637"/>
                    <a:pt x="2378" y="1671"/>
                    <a:pt x="2405" y="1776"/>
                  </a:cubicBezTo>
                  <a:cubicBezTo>
                    <a:pt x="2458" y="1991"/>
                    <a:pt x="2455" y="1984"/>
                    <a:pt x="2501" y="1984"/>
                  </a:cubicBezTo>
                  <a:cubicBezTo>
                    <a:pt x="2525" y="1984"/>
                    <a:pt x="2568" y="1968"/>
                    <a:pt x="2599" y="1951"/>
                  </a:cubicBezTo>
                  <a:lnTo>
                    <a:pt x="2652" y="1919"/>
                  </a:lnTo>
                  <a:lnTo>
                    <a:pt x="2640" y="1803"/>
                  </a:lnTo>
                  <a:cubicBezTo>
                    <a:pt x="2634" y="1739"/>
                    <a:pt x="2623" y="1672"/>
                    <a:pt x="2616" y="1655"/>
                  </a:cubicBezTo>
                  <a:cubicBezTo>
                    <a:pt x="2608" y="1635"/>
                    <a:pt x="2554" y="1586"/>
                    <a:pt x="2495" y="1543"/>
                  </a:cubicBezTo>
                  <a:cubicBezTo>
                    <a:pt x="2404" y="1477"/>
                    <a:pt x="2368" y="1463"/>
                    <a:pt x="2274" y="1448"/>
                  </a:cubicBezTo>
                  <a:cubicBezTo>
                    <a:pt x="2175" y="1434"/>
                    <a:pt x="2160" y="1427"/>
                    <a:pt x="2151" y="1392"/>
                  </a:cubicBezTo>
                  <a:cubicBezTo>
                    <a:pt x="2124" y="1291"/>
                    <a:pt x="2135" y="1240"/>
                    <a:pt x="2216" y="1112"/>
                  </a:cubicBezTo>
                  <a:cubicBezTo>
                    <a:pt x="2261" y="1042"/>
                    <a:pt x="2296" y="978"/>
                    <a:pt x="2296" y="968"/>
                  </a:cubicBezTo>
                  <a:cubicBezTo>
                    <a:pt x="2296" y="959"/>
                    <a:pt x="2279" y="880"/>
                    <a:pt x="2258" y="792"/>
                  </a:cubicBezTo>
                  <a:cubicBezTo>
                    <a:pt x="2213" y="613"/>
                    <a:pt x="2218" y="592"/>
                    <a:pt x="2316" y="503"/>
                  </a:cubicBezTo>
                  <a:cubicBezTo>
                    <a:pt x="2397" y="426"/>
                    <a:pt x="2512" y="349"/>
                    <a:pt x="2517" y="365"/>
                  </a:cubicBezTo>
                  <a:cubicBezTo>
                    <a:pt x="2520" y="375"/>
                    <a:pt x="2496" y="448"/>
                    <a:pt x="2466" y="533"/>
                  </a:cubicBezTo>
                  <a:cubicBezTo>
                    <a:pt x="2434" y="616"/>
                    <a:pt x="2408" y="693"/>
                    <a:pt x="2408" y="703"/>
                  </a:cubicBezTo>
                  <a:cubicBezTo>
                    <a:pt x="2408" y="738"/>
                    <a:pt x="2714" y="912"/>
                    <a:pt x="2778" y="912"/>
                  </a:cubicBezTo>
                  <a:cubicBezTo>
                    <a:pt x="2815" y="912"/>
                    <a:pt x="2855" y="871"/>
                    <a:pt x="2856" y="834"/>
                  </a:cubicBezTo>
                  <a:cubicBezTo>
                    <a:pt x="2856" y="823"/>
                    <a:pt x="2810" y="760"/>
                    <a:pt x="2752" y="696"/>
                  </a:cubicBezTo>
                  <a:cubicBezTo>
                    <a:pt x="2695" y="632"/>
                    <a:pt x="2648" y="568"/>
                    <a:pt x="2648" y="555"/>
                  </a:cubicBezTo>
                  <a:cubicBezTo>
                    <a:pt x="2648" y="512"/>
                    <a:pt x="2680" y="506"/>
                    <a:pt x="2719" y="543"/>
                  </a:cubicBezTo>
                  <a:cubicBezTo>
                    <a:pt x="2759" y="579"/>
                    <a:pt x="2794" y="584"/>
                    <a:pt x="2842" y="559"/>
                  </a:cubicBezTo>
                  <a:cubicBezTo>
                    <a:pt x="2884" y="538"/>
                    <a:pt x="2880" y="507"/>
                    <a:pt x="2831" y="423"/>
                  </a:cubicBezTo>
                  <a:cubicBezTo>
                    <a:pt x="2797" y="365"/>
                    <a:pt x="2792" y="347"/>
                    <a:pt x="2808" y="327"/>
                  </a:cubicBezTo>
                  <a:cubicBezTo>
                    <a:pt x="2856" y="271"/>
                    <a:pt x="2924" y="322"/>
                    <a:pt x="2884" y="386"/>
                  </a:cubicBezTo>
                  <a:cubicBezTo>
                    <a:pt x="2868" y="411"/>
                    <a:pt x="2869" y="421"/>
                    <a:pt x="2888" y="437"/>
                  </a:cubicBezTo>
                  <a:cubicBezTo>
                    <a:pt x="2903" y="447"/>
                    <a:pt x="2946" y="490"/>
                    <a:pt x="2984" y="533"/>
                  </a:cubicBezTo>
                  <a:lnTo>
                    <a:pt x="3053" y="610"/>
                  </a:lnTo>
                  <a:lnTo>
                    <a:pt x="2980" y="685"/>
                  </a:lnTo>
                  <a:cubicBezTo>
                    <a:pt x="2938" y="727"/>
                    <a:pt x="2904" y="768"/>
                    <a:pt x="2904" y="778"/>
                  </a:cubicBezTo>
                  <a:cubicBezTo>
                    <a:pt x="2904" y="789"/>
                    <a:pt x="2936" y="832"/>
                    <a:pt x="2976" y="877"/>
                  </a:cubicBezTo>
                  <a:cubicBezTo>
                    <a:pt x="3053" y="960"/>
                    <a:pt x="3060" y="991"/>
                    <a:pt x="3031" y="1090"/>
                  </a:cubicBezTo>
                  <a:cubicBezTo>
                    <a:pt x="3016" y="1136"/>
                    <a:pt x="2986" y="1171"/>
                    <a:pt x="2903" y="1235"/>
                  </a:cubicBezTo>
                  <a:cubicBezTo>
                    <a:pt x="2844" y="1282"/>
                    <a:pt x="2791" y="1328"/>
                    <a:pt x="2786" y="1339"/>
                  </a:cubicBezTo>
                  <a:cubicBezTo>
                    <a:pt x="2778" y="1357"/>
                    <a:pt x="2850" y="1472"/>
                    <a:pt x="2940" y="1584"/>
                  </a:cubicBezTo>
                  <a:cubicBezTo>
                    <a:pt x="2983" y="1639"/>
                    <a:pt x="2984" y="1639"/>
                    <a:pt x="3052" y="1621"/>
                  </a:cubicBezTo>
                  <a:cubicBezTo>
                    <a:pt x="3090" y="1610"/>
                    <a:pt x="3125" y="1607"/>
                    <a:pt x="3132" y="1613"/>
                  </a:cubicBezTo>
                  <a:cubicBezTo>
                    <a:pt x="3138" y="1619"/>
                    <a:pt x="3162" y="1677"/>
                    <a:pt x="3184" y="1741"/>
                  </a:cubicBezTo>
                  <a:lnTo>
                    <a:pt x="3224" y="1856"/>
                  </a:lnTo>
                  <a:lnTo>
                    <a:pt x="3144" y="2015"/>
                  </a:lnTo>
                  <a:lnTo>
                    <a:pt x="3064" y="2171"/>
                  </a:lnTo>
                  <a:lnTo>
                    <a:pt x="3082" y="2298"/>
                  </a:lnTo>
                  <a:cubicBezTo>
                    <a:pt x="3095" y="2384"/>
                    <a:pt x="3116" y="2451"/>
                    <a:pt x="3149" y="2512"/>
                  </a:cubicBezTo>
                  <a:cubicBezTo>
                    <a:pt x="3192" y="2589"/>
                    <a:pt x="3199" y="2619"/>
                    <a:pt x="3205" y="2752"/>
                  </a:cubicBezTo>
                  <a:cubicBezTo>
                    <a:pt x="3213" y="2917"/>
                    <a:pt x="3226" y="2960"/>
                    <a:pt x="3269" y="2960"/>
                  </a:cubicBezTo>
                  <a:cubicBezTo>
                    <a:pt x="3324" y="2960"/>
                    <a:pt x="3336" y="2994"/>
                    <a:pt x="3336" y="3138"/>
                  </a:cubicBezTo>
                  <a:cubicBezTo>
                    <a:pt x="3336" y="3293"/>
                    <a:pt x="3348" y="3311"/>
                    <a:pt x="3456" y="3336"/>
                  </a:cubicBezTo>
                  <a:cubicBezTo>
                    <a:pt x="3536" y="3355"/>
                    <a:pt x="3544" y="3371"/>
                    <a:pt x="3544" y="3495"/>
                  </a:cubicBezTo>
                  <a:cubicBezTo>
                    <a:pt x="3544" y="3605"/>
                    <a:pt x="3541" y="3615"/>
                    <a:pt x="3479" y="3703"/>
                  </a:cubicBezTo>
                  <a:lnTo>
                    <a:pt x="3412" y="3795"/>
                  </a:lnTo>
                  <a:lnTo>
                    <a:pt x="3439" y="3879"/>
                  </a:lnTo>
                  <a:cubicBezTo>
                    <a:pt x="3453" y="3925"/>
                    <a:pt x="3464" y="3973"/>
                    <a:pt x="3464" y="3986"/>
                  </a:cubicBezTo>
                  <a:cubicBezTo>
                    <a:pt x="3464" y="4015"/>
                    <a:pt x="3308" y="4192"/>
                    <a:pt x="3284" y="4192"/>
                  </a:cubicBezTo>
                  <a:cubicBezTo>
                    <a:pt x="3272" y="4192"/>
                    <a:pt x="3208" y="4159"/>
                    <a:pt x="3141" y="4120"/>
                  </a:cubicBezTo>
                  <a:close/>
                </a:path>
              </a:pathLst>
            </a:custGeom>
            <a:solidFill>
              <a:srgbClr val="92B7E4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34" name="Ярославская область">
              <a:extLst>
                <a:ext uri="{FF2B5EF4-FFF2-40B4-BE49-F238E27FC236}">
                  <a16:creationId xmlns="" xmlns:a16="http://schemas.microsoft.com/office/drawing/2014/main" id="{00000000-0008-0000-0300-00008D06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0483" y="4912923"/>
              <a:ext cx="431421" cy="405468"/>
            </a:xfrm>
            <a:custGeom>
              <a:avLst/>
              <a:gdLst/>
              <a:ahLst/>
              <a:cxnLst>
                <a:cxn ang="0">
                  <a:pos x="36" y="664"/>
                </a:cxn>
                <a:cxn ang="0">
                  <a:pos x="82" y="496"/>
                </a:cxn>
                <a:cxn ang="0">
                  <a:pos x="136" y="357"/>
                </a:cxn>
                <a:cxn ang="0">
                  <a:pos x="244" y="107"/>
                </a:cxn>
                <a:cxn ang="0">
                  <a:pos x="471" y="91"/>
                </a:cxn>
                <a:cxn ang="0">
                  <a:pos x="535" y="159"/>
                </a:cxn>
                <a:cxn ang="0">
                  <a:pos x="580" y="128"/>
                </a:cxn>
                <a:cxn ang="0">
                  <a:pos x="644" y="127"/>
                </a:cxn>
                <a:cxn ang="0">
                  <a:pos x="698" y="447"/>
                </a:cxn>
                <a:cxn ang="0">
                  <a:pos x="661" y="509"/>
                </a:cxn>
                <a:cxn ang="0">
                  <a:pos x="540" y="592"/>
                </a:cxn>
                <a:cxn ang="0">
                  <a:pos x="420" y="655"/>
                </a:cxn>
                <a:cxn ang="0">
                  <a:pos x="143" y="672"/>
                </a:cxn>
                <a:cxn ang="0">
                  <a:pos x="36" y="664"/>
                </a:cxn>
              </a:cxnLst>
              <a:rect l="0" t="0" r="r" b="b"/>
              <a:pathLst>
                <a:path w="698" h="704">
                  <a:moveTo>
                    <a:pt x="36" y="664"/>
                  </a:moveTo>
                  <a:cubicBezTo>
                    <a:pt x="0" y="626"/>
                    <a:pt x="12" y="583"/>
                    <a:pt x="82" y="496"/>
                  </a:cubicBezTo>
                  <a:cubicBezTo>
                    <a:pt x="154" y="405"/>
                    <a:pt x="157" y="397"/>
                    <a:pt x="136" y="357"/>
                  </a:cubicBezTo>
                  <a:cubicBezTo>
                    <a:pt x="106" y="301"/>
                    <a:pt x="148" y="203"/>
                    <a:pt x="244" y="107"/>
                  </a:cubicBezTo>
                  <a:cubicBezTo>
                    <a:pt x="351" y="2"/>
                    <a:pt x="386" y="0"/>
                    <a:pt x="471" y="91"/>
                  </a:cubicBezTo>
                  <a:lnTo>
                    <a:pt x="535" y="159"/>
                  </a:lnTo>
                  <a:lnTo>
                    <a:pt x="580" y="128"/>
                  </a:lnTo>
                  <a:cubicBezTo>
                    <a:pt x="620" y="101"/>
                    <a:pt x="624" y="101"/>
                    <a:pt x="644" y="127"/>
                  </a:cubicBezTo>
                  <a:cubicBezTo>
                    <a:pt x="663" y="154"/>
                    <a:pt x="698" y="355"/>
                    <a:pt x="698" y="447"/>
                  </a:cubicBezTo>
                  <a:cubicBezTo>
                    <a:pt x="698" y="488"/>
                    <a:pt x="690" y="503"/>
                    <a:pt x="661" y="509"/>
                  </a:cubicBezTo>
                  <a:cubicBezTo>
                    <a:pt x="642" y="514"/>
                    <a:pt x="588" y="552"/>
                    <a:pt x="540" y="592"/>
                  </a:cubicBezTo>
                  <a:cubicBezTo>
                    <a:pt x="472" y="650"/>
                    <a:pt x="445" y="664"/>
                    <a:pt x="420" y="655"/>
                  </a:cubicBezTo>
                  <a:cubicBezTo>
                    <a:pt x="362" y="635"/>
                    <a:pt x="168" y="648"/>
                    <a:pt x="143" y="672"/>
                  </a:cubicBezTo>
                  <a:cubicBezTo>
                    <a:pt x="111" y="704"/>
                    <a:pt x="68" y="701"/>
                    <a:pt x="36" y="664"/>
                  </a:cubicBezTo>
                  <a:close/>
                </a:path>
              </a:pathLst>
            </a:custGeom>
            <a:solidFill>
              <a:srgbClr val="3072C2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35" name="Республика Крым">
              <a:extLst>
                <a:ext uri="{FF2B5EF4-FFF2-40B4-BE49-F238E27FC236}">
                  <a16:creationId xmlns="" xmlns:a16="http://schemas.microsoft.com/office/drawing/2014/main" id="{00000000-0008-0000-0300-00006700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4881" y="6343913"/>
              <a:ext cx="451486" cy="571005"/>
            </a:xfrm>
            <a:custGeom>
              <a:avLst/>
              <a:gdLst>
                <a:gd name="T0" fmla="*/ 19 w 91"/>
                <a:gd name="T1" fmla="*/ 0 h 123"/>
                <a:gd name="T2" fmla="*/ 58 w 91"/>
                <a:gd name="T3" fmla="*/ 27 h 123"/>
                <a:gd name="T4" fmla="*/ 68 w 91"/>
                <a:gd name="T5" fmla="*/ 20 h 123"/>
                <a:gd name="T6" fmla="*/ 79 w 91"/>
                <a:gd name="T7" fmla="*/ 30 h 123"/>
                <a:gd name="T8" fmla="*/ 64 w 91"/>
                <a:gd name="T9" fmla="*/ 74 h 123"/>
                <a:gd name="T10" fmla="*/ 91 w 91"/>
                <a:gd name="T11" fmla="*/ 110 h 123"/>
                <a:gd name="T12" fmla="*/ 78 w 91"/>
                <a:gd name="T13" fmla="*/ 123 h 123"/>
                <a:gd name="T14" fmla="*/ 59 w 91"/>
                <a:gd name="T15" fmla="*/ 112 h 123"/>
                <a:gd name="T16" fmla="*/ 30 w 91"/>
                <a:gd name="T17" fmla="*/ 76 h 123"/>
                <a:gd name="T18" fmla="*/ 4 w 91"/>
                <a:gd name="T19" fmla="*/ 77 h 123"/>
                <a:gd name="T20" fmla="*/ 0 w 91"/>
                <a:gd name="T21" fmla="*/ 56 h 123"/>
                <a:gd name="T22" fmla="*/ 15 w 91"/>
                <a:gd name="T23" fmla="*/ 40 h 123"/>
                <a:gd name="T24" fmla="*/ 13 w 91"/>
                <a:gd name="T25" fmla="*/ 8 h 123"/>
                <a:gd name="T26" fmla="*/ 19 w 91"/>
                <a:gd name="T2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123">
                  <a:moveTo>
                    <a:pt x="19" y="0"/>
                  </a:moveTo>
                  <a:lnTo>
                    <a:pt x="58" y="27"/>
                  </a:lnTo>
                  <a:lnTo>
                    <a:pt x="68" y="20"/>
                  </a:lnTo>
                  <a:lnTo>
                    <a:pt x="79" y="30"/>
                  </a:lnTo>
                  <a:lnTo>
                    <a:pt x="64" y="74"/>
                  </a:lnTo>
                  <a:lnTo>
                    <a:pt x="91" y="110"/>
                  </a:lnTo>
                  <a:lnTo>
                    <a:pt x="78" y="123"/>
                  </a:lnTo>
                  <a:lnTo>
                    <a:pt x="59" y="112"/>
                  </a:lnTo>
                  <a:lnTo>
                    <a:pt x="30" y="76"/>
                  </a:lnTo>
                  <a:lnTo>
                    <a:pt x="4" y="77"/>
                  </a:lnTo>
                  <a:lnTo>
                    <a:pt x="0" y="56"/>
                  </a:lnTo>
                  <a:lnTo>
                    <a:pt x="15" y="40"/>
                  </a:lnTo>
                  <a:lnTo>
                    <a:pt x="13" y="8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E1EFF6"/>
            </a:solidFill>
            <a:ln w="6350">
              <a:solidFill>
                <a:schemeClr val="bg1"/>
              </a:solidFill>
              <a:headEnd/>
              <a:tailEnd/>
            </a:ln>
            <a:effec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/>
            <a:lstStyle/>
            <a:p>
              <a:endParaRPr lang="ru-RU"/>
            </a:p>
          </p:txBody>
        </p:sp>
      </p:grpSp>
      <p:sp>
        <p:nvSpPr>
          <p:cNvPr id="438" name="Freeform 79">
            <a:extLst>
              <a:ext uri="{FF2B5EF4-FFF2-40B4-BE49-F238E27FC236}">
                <a16:creationId xmlns="" xmlns:a16="http://schemas.microsoft.com/office/drawing/2014/main" id="{5BFB7241-B082-4F45-82F8-8BCB1C3D5047}"/>
              </a:ext>
            </a:extLst>
          </p:cNvPr>
          <p:cNvSpPr>
            <a:spLocks/>
          </p:cNvSpPr>
          <p:nvPr/>
        </p:nvSpPr>
        <p:spPr bwMode="auto">
          <a:xfrm rot="9984629">
            <a:off x="967979" y="5009665"/>
            <a:ext cx="297828" cy="349592"/>
          </a:xfrm>
          <a:custGeom>
            <a:avLst/>
            <a:gdLst>
              <a:gd name="T0" fmla="*/ 214 w 243"/>
              <a:gd name="T1" fmla="*/ 99 h 523"/>
              <a:gd name="T2" fmla="*/ 214 w 243"/>
              <a:gd name="T3" fmla="*/ 99 h 523"/>
              <a:gd name="T4" fmla="*/ 243 w 243"/>
              <a:gd name="T5" fmla="*/ 161 h 523"/>
              <a:gd name="T6" fmla="*/ 196 w 243"/>
              <a:gd name="T7" fmla="*/ 274 h 523"/>
              <a:gd name="T8" fmla="*/ 106 w 243"/>
              <a:gd name="T9" fmla="*/ 371 h 523"/>
              <a:gd name="T10" fmla="*/ 185 w 243"/>
              <a:gd name="T11" fmla="*/ 462 h 523"/>
              <a:gd name="T12" fmla="*/ 53 w 243"/>
              <a:gd name="T13" fmla="*/ 523 h 523"/>
              <a:gd name="T14" fmla="*/ 36 w 243"/>
              <a:gd name="T15" fmla="*/ 427 h 523"/>
              <a:gd name="T16" fmla="*/ 22 w 243"/>
              <a:gd name="T17" fmla="*/ 357 h 523"/>
              <a:gd name="T18" fmla="*/ 48 w 243"/>
              <a:gd name="T19" fmla="*/ 174 h 523"/>
              <a:gd name="T20" fmla="*/ 0 w 243"/>
              <a:gd name="T21" fmla="*/ 133 h 523"/>
              <a:gd name="T22" fmla="*/ 41 w 243"/>
              <a:gd name="T23" fmla="*/ 115 h 523"/>
              <a:gd name="T24" fmla="*/ 112 w 243"/>
              <a:gd name="T25" fmla="*/ 44 h 523"/>
              <a:gd name="T26" fmla="*/ 130 w 243"/>
              <a:gd name="T27" fmla="*/ 0 h 523"/>
              <a:gd name="T28" fmla="*/ 185 w 243"/>
              <a:gd name="T29" fmla="*/ 37 h 523"/>
              <a:gd name="T30" fmla="*/ 214 w 243"/>
              <a:gd name="T31" fmla="*/ 99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43" h="523">
                <a:moveTo>
                  <a:pt x="214" y="99"/>
                </a:moveTo>
                <a:lnTo>
                  <a:pt x="214" y="99"/>
                </a:lnTo>
                <a:lnTo>
                  <a:pt x="243" y="161"/>
                </a:lnTo>
                <a:lnTo>
                  <a:pt x="196" y="274"/>
                </a:lnTo>
                <a:lnTo>
                  <a:pt x="106" y="371"/>
                </a:lnTo>
                <a:lnTo>
                  <a:pt x="185" y="462"/>
                </a:lnTo>
                <a:lnTo>
                  <a:pt x="53" y="523"/>
                </a:lnTo>
                <a:lnTo>
                  <a:pt x="36" y="427"/>
                </a:lnTo>
                <a:lnTo>
                  <a:pt x="22" y="357"/>
                </a:lnTo>
                <a:lnTo>
                  <a:pt x="48" y="174"/>
                </a:lnTo>
                <a:lnTo>
                  <a:pt x="0" y="133"/>
                </a:lnTo>
                <a:cubicBezTo>
                  <a:pt x="15" y="132"/>
                  <a:pt x="30" y="126"/>
                  <a:pt x="41" y="115"/>
                </a:cubicBezTo>
                <a:lnTo>
                  <a:pt x="112" y="44"/>
                </a:lnTo>
                <a:cubicBezTo>
                  <a:pt x="124" y="31"/>
                  <a:pt x="130" y="16"/>
                  <a:pt x="130" y="0"/>
                </a:cubicBezTo>
                <a:lnTo>
                  <a:pt x="185" y="37"/>
                </a:lnTo>
                <a:lnTo>
                  <a:pt x="214" y="99"/>
                </a:lnTo>
                <a:close/>
              </a:path>
            </a:pathLst>
          </a:custGeom>
          <a:solidFill>
            <a:srgbClr val="E1EFF6"/>
          </a:solidFill>
          <a:ln w="317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39" name="Freeform 83">
            <a:extLst>
              <a:ext uri="{FF2B5EF4-FFF2-40B4-BE49-F238E27FC236}">
                <a16:creationId xmlns="" xmlns:a16="http://schemas.microsoft.com/office/drawing/2014/main" id="{CFE4746A-4243-4C73-B900-2E8803270598}"/>
              </a:ext>
            </a:extLst>
          </p:cNvPr>
          <p:cNvSpPr>
            <a:spLocks/>
          </p:cNvSpPr>
          <p:nvPr/>
        </p:nvSpPr>
        <p:spPr bwMode="auto">
          <a:xfrm rot="1214387">
            <a:off x="879407" y="5045767"/>
            <a:ext cx="227505" cy="309193"/>
          </a:xfrm>
          <a:custGeom>
            <a:avLst/>
            <a:gdLst>
              <a:gd name="T0" fmla="*/ 325 w 356"/>
              <a:gd name="T1" fmla="*/ 224 h 485"/>
              <a:gd name="T2" fmla="*/ 325 w 356"/>
              <a:gd name="T3" fmla="*/ 224 h 485"/>
              <a:gd name="T4" fmla="*/ 356 w 356"/>
              <a:gd name="T5" fmla="*/ 390 h 485"/>
              <a:gd name="T6" fmla="*/ 236 w 356"/>
              <a:gd name="T7" fmla="*/ 445 h 485"/>
              <a:gd name="T8" fmla="*/ 0 w 356"/>
              <a:gd name="T9" fmla="*/ 485 h 485"/>
              <a:gd name="T10" fmla="*/ 64 w 356"/>
              <a:gd name="T11" fmla="*/ 421 h 485"/>
              <a:gd name="T12" fmla="*/ 20 w 356"/>
              <a:gd name="T13" fmla="*/ 316 h 485"/>
              <a:gd name="T14" fmla="*/ 69 w 356"/>
              <a:gd name="T15" fmla="*/ 202 h 485"/>
              <a:gd name="T16" fmla="*/ 140 w 356"/>
              <a:gd name="T17" fmla="*/ 0 h 485"/>
              <a:gd name="T18" fmla="*/ 300 w 356"/>
              <a:gd name="T19" fmla="*/ 0 h 485"/>
              <a:gd name="T20" fmla="*/ 303 w 356"/>
              <a:gd name="T21" fmla="*/ 0 h 485"/>
              <a:gd name="T22" fmla="*/ 303 w 356"/>
              <a:gd name="T23" fmla="*/ 0 h 485"/>
              <a:gd name="T24" fmla="*/ 351 w 356"/>
              <a:gd name="T25" fmla="*/ 41 h 485"/>
              <a:gd name="T26" fmla="*/ 325 w 356"/>
              <a:gd name="T27" fmla="*/ 224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56" h="485">
                <a:moveTo>
                  <a:pt x="325" y="224"/>
                </a:moveTo>
                <a:lnTo>
                  <a:pt x="325" y="224"/>
                </a:lnTo>
                <a:lnTo>
                  <a:pt x="356" y="390"/>
                </a:lnTo>
                <a:lnTo>
                  <a:pt x="236" y="445"/>
                </a:lnTo>
                <a:lnTo>
                  <a:pt x="0" y="485"/>
                </a:lnTo>
                <a:lnTo>
                  <a:pt x="64" y="421"/>
                </a:lnTo>
                <a:cubicBezTo>
                  <a:pt x="103" y="382"/>
                  <a:pt x="75" y="316"/>
                  <a:pt x="20" y="316"/>
                </a:cubicBezTo>
                <a:lnTo>
                  <a:pt x="69" y="202"/>
                </a:lnTo>
                <a:lnTo>
                  <a:pt x="140" y="0"/>
                </a:lnTo>
                <a:lnTo>
                  <a:pt x="300" y="0"/>
                </a:lnTo>
                <a:cubicBezTo>
                  <a:pt x="301" y="0"/>
                  <a:pt x="302" y="0"/>
                  <a:pt x="303" y="0"/>
                </a:cubicBezTo>
                <a:lnTo>
                  <a:pt x="303" y="0"/>
                </a:lnTo>
                <a:lnTo>
                  <a:pt x="351" y="41"/>
                </a:lnTo>
                <a:lnTo>
                  <a:pt x="325" y="224"/>
                </a:lnTo>
                <a:close/>
              </a:path>
            </a:pathLst>
          </a:custGeom>
          <a:solidFill>
            <a:srgbClr val="E1EFF6"/>
          </a:solidFill>
          <a:ln w="317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40" name="Freeform 87">
            <a:extLst>
              <a:ext uri="{FF2B5EF4-FFF2-40B4-BE49-F238E27FC236}">
                <a16:creationId xmlns="" xmlns:a16="http://schemas.microsoft.com/office/drawing/2014/main" id="{00F1C380-8799-4546-8086-7A857B3586C6}"/>
              </a:ext>
            </a:extLst>
          </p:cNvPr>
          <p:cNvSpPr>
            <a:spLocks/>
          </p:cNvSpPr>
          <p:nvPr/>
        </p:nvSpPr>
        <p:spPr bwMode="auto">
          <a:xfrm>
            <a:off x="753477" y="5056238"/>
            <a:ext cx="209550" cy="233362"/>
          </a:xfrm>
          <a:custGeom>
            <a:avLst/>
            <a:gdLst>
              <a:gd name="T0" fmla="*/ 371 w 371"/>
              <a:gd name="T1" fmla="*/ 99 h 415"/>
              <a:gd name="T2" fmla="*/ 371 w 371"/>
              <a:gd name="T3" fmla="*/ 99 h 415"/>
              <a:gd name="T4" fmla="*/ 300 w 371"/>
              <a:gd name="T5" fmla="*/ 301 h 415"/>
              <a:gd name="T6" fmla="*/ 251 w 371"/>
              <a:gd name="T7" fmla="*/ 415 h 415"/>
              <a:gd name="T8" fmla="*/ 20 w 371"/>
              <a:gd name="T9" fmla="*/ 415 h 415"/>
              <a:gd name="T10" fmla="*/ 47 w 371"/>
              <a:gd name="T11" fmla="*/ 361 h 415"/>
              <a:gd name="T12" fmla="*/ 70 w 371"/>
              <a:gd name="T13" fmla="*/ 245 h 415"/>
              <a:gd name="T14" fmla="*/ 0 w 371"/>
              <a:gd name="T15" fmla="*/ 0 h 415"/>
              <a:gd name="T16" fmla="*/ 27 w 371"/>
              <a:gd name="T17" fmla="*/ 6 h 415"/>
              <a:gd name="T18" fmla="*/ 145 w 371"/>
              <a:gd name="T19" fmla="*/ 6 h 415"/>
              <a:gd name="T20" fmla="*/ 188 w 371"/>
              <a:gd name="T21" fmla="*/ 24 h 415"/>
              <a:gd name="T22" fmla="*/ 245 w 371"/>
              <a:gd name="T23" fmla="*/ 81 h 415"/>
              <a:gd name="T24" fmla="*/ 289 w 371"/>
              <a:gd name="T25" fmla="*/ 99 h 415"/>
              <a:gd name="T26" fmla="*/ 371 w 371"/>
              <a:gd name="T27" fmla="*/ 99 h 4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71" h="415">
                <a:moveTo>
                  <a:pt x="371" y="99"/>
                </a:moveTo>
                <a:lnTo>
                  <a:pt x="371" y="99"/>
                </a:lnTo>
                <a:lnTo>
                  <a:pt x="300" y="301"/>
                </a:lnTo>
                <a:lnTo>
                  <a:pt x="251" y="415"/>
                </a:lnTo>
                <a:lnTo>
                  <a:pt x="20" y="415"/>
                </a:lnTo>
                <a:lnTo>
                  <a:pt x="47" y="361"/>
                </a:lnTo>
                <a:lnTo>
                  <a:pt x="70" y="245"/>
                </a:lnTo>
                <a:lnTo>
                  <a:pt x="0" y="0"/>
                </a:lnTo>
                <a:cubicBezTo>
                  <a:pt x="8" y="4"/>
                  <a:pt x="18" y="6"/>
                  <a:pt x="27" y="6"/>
                </a:cubicBezTo>
                <a:lnTo>
                  <a:pt x="145" y="6"/>
                </a:lnTo>
                <a:cubicBezTo>
                  <a:pt x="161" y="6"/>
                  <a:pt x="177" y="13"/>
                  <a:pt x="188" y="24"/>
                </a:cubicBezTo>
                <a:lnTo>
                  <a:pt x="245" y="81"/>
                </a:lnTo>
                <a:cubicBezTo>
                  <a:pt x="257" y="92"/>
                  <a:pt x="272" y="99"/>
                  <a:pt x="289" y="99"/>
                </a:cubicBezTo>
                <a:lnTo>
                  <a:pt x="371" y="99"/>
                </a:lnTo>
                <a:close/>
              </a:path>
            </a:pathLst>
          </a:custGeom>
          <a:solidFill>
            <a:srgbClr val="E1EFF6"/>
          </a:solidFill>
          <a:ln w="317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41" name="Freeform 91">
            <a:extLst>
              <a:ext uri="{FF2B5EF4-FFF2-40B4-BE49-F238E27FC236}">
                <a16:creationId xmlns="" xmlns:a16="http://schemas.microsoft.com/office/drawing/2014/main" id="{EA73D483-254B-41B4-980B-34524932F5C0}"/>
              </a:ext>
            </a:extLst>
          </p:cNvPr>
          <p:cNvSpPr>
            <a:spLocks/>
          </p:cNvSpPr>
          <p:nvPr/>
        </p:nvSpPr>
        <p:spPr bwMode="auto">
          <a:xfrm>
            <a:off x="538193" y="4960895"/>
            <a:ext cx="249238" cy="311149"/>
          </a:xfrm>
          <a:custGeom>
            <a:avLst/>
            <a:gdLst>
              <a:gd name="T0" fmla="*/ 373 w 443"/>
              <a:gd name="T1" fmla="*/ 124 h 554"/>
              <a:gd name="T2" fmla="*/ 373 w 443"/>
              <a:gd name="T3" fmla="*/ 124 h 554"/>
              <a:gd name="T4" fmla="*/ 443 w 443"/>
              <a:gd name="T5" fmla="*/ 369 h 554"/>
              <a:gd name="T6" fmla="*/ 420 w 443"/>
              <a:gd name="T7" fmla="*/ 485 h 554"/>
              <a:gd name="T8" fmla="*/ 393 w 443"/>
              <a:gd name="T9" fmla="*/ 539 h 554"/>
              <a:gd name="T10" fmla="*/ 375 w 443"/>
              <a:gd name="T11" fmla="*/ 539 h 554"/>
              <a:gd name="T12" fmla="*/ 331 w 443"/>
              <a:gd name="T13" fmla="*/ 521 h 554"/>
              <a:gd name="T14" fmla="*/ 312 w 443"/>
              <a:gd name="T15" fmla="*/ 502 h 554"/>
              <a:gd name="T16" fmla="*/ 260 w 443"/>
              <a:gd name="T17" fmla="*/ 554 h 554"/>
              <a:gd name="T18" fmla="*/ 141 w 443"/>
              <a:gd name="T19" fmla="*/ 393 h 554"/>
              <a:gd name="T20" fmla="*/ 147 w 443"/>
              <a:gd name="T21" fmla="*/ 388 h 554"/>
              <a:gd name="T22" fmla="*/ 157 w 443"/>
              <a:gd name="T23" fmla="*/ 362 h 554"/>
              <a:gd name="T24" fmla="*/ 147 w 443"/>
              <a:gd name="T25" fmla="*/ 337 h 554"/>
              <a:gd name="T26" fmla="*/ 18 w 443"/>
              <a:gd name="T27" fmla="*/ 208 h 554"/>
              <a:gd name="T28" fmla="*/ 0 w 443"/>
              <a:gd name="T29" fmla="*/ 165 h 554"/>
              <a:gd name="T30" fmla="*/ 0 w 443"/>
              <a:gd name="T31" fmla="*/ 127 h 554"/>
              <a:gd name="T32" fmla="*/ 18 w 443"/>
              <a:gd name="T33" fmla="*/ 83 h 554"/>
              <a:gd name="T34" fmla="*/ 83 w 443"/>
              <a:gd name="T35" fmla="*/ 18 h 554"/>
              <a:gd name="T36" fmla="*/ 127 w 443"/>
              <a:gd name="T37" fmla="*/ 0 h 554"/>
              <a:gd name="T38" fmla="*/ 219 w 443"/>
              <a:gd name="T39" fmla="*/ 0 h 554"/>
              <a:gd name="T40" fmla="*/ 262 w 443"/>
              <a:gd name="T41" fmla="*/ 18 h 554"/>
              <a:gd name="T42" fmla="*/ 357 w 443"/>
              <a:gd name="T43" fmla="*/ 112 h 554"/>
              <a:gd name="T44" fmla="*/ 373 w 443"/>
              <a:gd name="T45" fmla="*/ 124 h 5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43" h="554">
                <a:moveTo>
                  <a:pt x="373" y="124"/>
                </a:moveTo>
                <a:lnTo>
                  <a:pt x="373" y="124"/>
                </a:lnTo>
                <a:lnTo>
                  <a:pt x="443" y="369"/>
                </a:lnTo>
                <a:lnTo>
                  <a:pt x="420" y="485"/>
                </a:lnTo>
                <a:lnTo>
                  <a:pt x="393" y="539"/>
                </a:lnTo>
                <a:lnTo>
                  <a:pt x="375" y="539"/>
                </a:lnTo>
                <a:cubicBezTo>
                  <a:pt x="358" y="539"/>
                  <a:pt x="343" y="533"/>
                  <a:pt x="331" y="521"/>
                </a:cubicBezTo>
                <a:lnTo>
                  <a:pt x="312" y="502"/>
                </a:lnTo>
                <a:lnTo>
                  <a:pt x="260" y="554"/>
                </a:lnTo>
                <a:lnTo>
                  <a:pt x="141" y="393"/>
                </a:lnTo>
                <a:cubicBezTo>
                  <a:pt x="143" y="392"/>
                  <a:pt x="145" y="390"/>
                  <a:pt x="147" y="388"/>
                </a:cubicBezTo>
                <a:cubicBezTo>
                  <a:pt x="154" y="381"/>
                  <a:pt x="157" y="372"/>
                  <a:pt x="157" y="362"/>
                </a:cubicBezTo>
                <a:cubicBezTo>
                  <a:pt x="157" y="353"/>
                  <a:pt x="154" y="344"/>
                  <a:pt x="147" y="337"/>
                </a:cubicBezTo>
                <a:lnTo>
                  <a:pt x="18" y="208"/>
                </a:lnTo>
                <a:cubicBezTo>
                  <a:pt x="7" y="197"/>
                  <a:pt x="0" y="181"/>
                  <a:pt x="0" y="165"/>
                </a:cubicBezTo>
                <a:lnTo>
                  <a:pt x="0" y="127"/>
                </a:lnTo>
                <a:cubicBezTo>
                  <a:pt x="0" y="110"/>
                  <a:pt x="7" y="95"/>
                  <a:pt x="18" y="83"/>
                </a:cubicBezTo>
                <a:lnTo>
                  <a:pt x="83" y="18"/>
                </a:lnTo>
                <a:cubicBezTo>
                  <a:pt x="95" y="6"/>
                  <a:pt x="111" y="0"/>
                  <a:pt x="127" y="0"/>
                </a:cubicBezTo>
                <a:lnTo>
                  <a:pt x="219" y="0"/>
                </a:lnTo>
                <a:cubicBezTo>
                  <a:pt x="235" y="0"/>
                  <a:pt x="251" y="6"/>
                  <a:pt x="262" y="18"/>
                </a:cubicBezTo>
                <a:lnTo>
                  <a:pt x="357" y="112"/>
                </a:lnTo>
                <a:cubicBezTo>
                  <a:pt x="361" y="117"/>
                  <a:pt x="367" y="121"/>
                  <a:pt x="373" y="124"/>
                </a:cubicBezTo>
                <a:close/>
              </a:path>
            </a:pathLst>
          </a:custGeom>
          <a:solidFill>
            <a:srgbClr val="E1EFF6"/>
          </a:solidFill>
          <a:ln w="317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442" name="Freeform 97">
            <a:extLst>
              <a:ext uri="{FF2B5EF4-FFF2-40B4-BE49-F238E27FC236}">
                <a16:creationId xmlns="" xmlns:a16="http://schemas.microsoft.com/office/drawing/2014/main" id="{562B168A-E4F1-4EA1-A03D-1570E903DFD5}"/>
              </a:ext>
            </a:extLst>
          </p:cNvPr>
          <p:cNvSpPr>
            <a:spLocks/>
          </p:cNvSpPr>
          <p:nvPr/>
        </p:nvSpPr>
        <p:spPr bwMode="auto">
          <a:xfrm>
            <a:off x="3479807" y="3035289"/>
            <a:ext cx="709613" cy="608010"/>
          </a:xfrm>
          <a:custGeom>
            <a:avLst/>
            <a:gdLst>
              <a:gd name="T0" fmla="*/ 1232 w 1260"/>
              <a:gd name="T1" fmla="*/ 0 h 1077"/>
              <a:gd name="T2" fmla="*/ 1232 w 1260"/>
              <a:gd name="T3" fmla="*/ 0 h 1077"/>
              <a:gd name="T4" fmla="*/ 1006 w 1260"/>
              <a:gd name="T5" fmla="*/ 0 h 1077"/>
              <a:gd name="T6" fmla="*/ 924 w 1260"/>
              <a:gd name="T7" fmla="*/ 0 h 1077"/>
              <a:gd name="T8" fmla="*/ 594 w 1260"/>
              <a:gd name="T9" fmla="*/ 0 h 1077"/>
              <a:gd name="T10" fmla="*/ 523 w 1260"/>
              <a:gd name="T11" fmla="*/ 29 h 1077"/>
              <a:gd name="T12" fmla="*/ 29 w 1260"/>
              <a:gd name="T13" fmla="*/ 526 h 1077"/>
              <a:gd name="T14" fmla="*/ 0 w 1260"/>
              <a:gd name="T15" fmla="*/ 596 h 1077"/>
              <a:gd name="T16" fmla="*/ 0 w 1260"/>
              <a:gd name="T17" fmla="*/ 1035 h 1077"/>
              <a:gd name="T18" fmla="*/ 41 w 1260"/>
              <a:gd name="T19" fmla="*/ 1077 h 1077"/>
              <a:gd name="T20" fmla="*/ 239 w 1260"/>
              <a:gd name="T21" fmla="*/ 1077 h 1077"/>
              <a:gd name="T22" fmla="*/ 281 w 1260"/>
              <a:gd name="T23" fmla="*/ 1035 h 1077"/>
              <a:gd name="T24" fmla="*/ 281 w 1260"/>
              <a:gd name="T25" fmla="*/ 638 h 1077"/>
              <a:gd name="T26" fmla="*/ 310 w 1260"/>
              <a:gd name="T27" fmla="*/ 568 h 1077"/>
              <a:gd name="T28" fmla="*/ 555 w 1260"/>
              <a:gd name="T29" fmla="*/ 328 h 1077"/>
              <a:gd name="T30" fmla="*/ 626 w 1260"/>
              <a:gd name="T31" fmla="*/ 299 h 1077"/>
              <a:gd name="T32" fmla="*/ 932 w 1260"/>
              <a:gd name="T33" fmla="*/ 299 h 1077"/>
              <a:gd name="T34" fmla="*/ 1003 w 1260"/>
              <a:gd name="T35" fmla="*/ 270 h 1077"/>
              <a:gd name="T36" fmla="*/ 1244 w 1260"/>
              <a:gd name="T37" fmla="*/ 29 h 1077"/>
              <a:gd name="T38" fmla="*/ 1232 w 1260"/>
              <a:gd name="T39" fmla="*/ 0 h 1077"/>
              <a:gd name="T40" fmla="*/ 1232 w 1260"/>
              <a:gd name="T41" fmla="*/ 0 h 10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60" h="1077">
                <a:moveTo>
                  <a:pt x="1232" y="0"/>
                </a:moveTo>
                <a:lnTo>
                  <a:pt x="1232" y="0"/>
                </a:lnTo>
                <a:lnTo>
                  <a:pt x="1006" y="0"/>
                </a:lnTo>
                <a:lnTo>
                  <a:pt x="924" y="0"/>
                </a:lnTo>
                <a:lnTo>
                  <a:pt x="594" y="0"/>
                </a:lnTo>
                <a:cubicBezTo>
                  <a:pt x="571" y="0"/>
                  <a:pt x="539" y="13"/>
                  <a:pt x="523" y="29"/>
                </a:cubicBezTo>
                <a:lnTo>
                  <a:pt x="29" y="526"/>
                </a:lnTo>
                <a:cubicBezTo>
                  <a:pt x="13" y="542"/>
                  <a:pt x="0" y="574"/>
                  <a:pt x="0" y="596"/>
                </a:cubicBezTo>
                <a:lnTo>
                  <a:pt x="0" y="1035"/>
                </a:lnTo>
                <a:cubicBezTo>
                  <a:pt x="0" y="1058"/>
                  <a:pt x="18" y="1077"/>
                  <a:pt x="41" y="1077"/>
                </a:cubicBezTo>
                <a:lnTo>
                  <a:pt x="239" y="1077"/>
                </a:lnTo>
                <a:cubicBezTo>
                  <a:pt x="262" y="1077"/>
                  <a:pt x="281" y="1058"/>
                  <a:pt x="281" y="1035"/>
                </a:cubicBezTo>
                <a:lnTo>
                  <a:pt x="281" y="638"/>
                </a:lnTo>
                <a:cubicBezTo>
                  <a:pt x="281" y="615"/>
                  <a:pt x="294" y="583"/>
                  <a:pt x="310" y="568"/>
                </a:cubicBezTo>
                <a:lnTo>
                  <a:pt x="555" y="328"/>
                </a:lnTo>
                <a:cubicBezTo>
                  <a:pt x="571" y="312"/>
                  <a:pt x="603" y="299"/>
                  <a:pt x="626" y="299"/>
                </a:cubicBezTo>
                <a:lnTo>
                  <a:pt x="932" y="299"/>
                </a:lnTo>
                <a:cubicBezTo>
                  <a:pt x="955" y="299"/>
                  <a:pt x="987" y="286"/>
                  <a:pt x="1003" y="270"/>
                </a:cubicBezTo>
                <a:lnTo>
                  <a:pt x="1244" y="29"/>
                </a:lnTo>
                <a:cubicBezTo>
                  <a:pt x="1260" y="13"/>
                  <a:pt x="1255" y="0"/>
                  <a:pt x="1232" y="0"/>
                </a:cubicBezTo>
                <a:lnTo>
                  <a:pt x="1232" y="0"/>
                </a:lnTo>
                <a:close/>
              </a:path>
            </a:pathLst>
          </a:custGeom>
          <a:solidFill>
            <a:srgbClr val="E1EFF6"/>
          </a:solidFill>
          <a:ln w="3175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7" name="Заголовок 3">
            <a:extLst>
              <a:ext uri="{FF2B5EF4-FFF2-40B4-BE49-F238E27FC236}">
                <a16:creationId xmlns="" xmlns:a16="http://schemas.microsoft.com/office/drawing/2014/main" id="{7AEF8EEC-7519-4D6F-9FD7-7BD9224853AB}"/>
              </a:ext>
            </a:extLst>
          </p:cNvPr>
          <p:cNvSpPr txBox="1">
            <a:spLocks/>
          </p:cNvSpPr>
          <p:nvPr/>
        </p:nvSpPr>
        <p:spPr>
          <a:xfrm>
            <a:off x="813195" y="2216094"/>
            <a:ext cx="2862749" cy="3160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150" kern="1200" spc="150" baseline="0" dirty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1600" dirty="0">
                <a:ln w="15875" cap="sq">
                  <a:noFill/>
                  <a:miter lim="800000"/>
                </a:ln>
                <a:solidFill>
                  <a:srgbClr val="3C3C3B"/>
                </a:solidFill>
              </a:rPr>
              <a:t>работников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="" xmlns:a16="http://schemas.microsoft.com/office/drawing/2014/main" id="{13C6B3DD-C1B0-4793-86C7-9AD3430086A9}"/>
              </a:ext>
            </a:extLst>
          </p:cNvPr>
          <p:cNvSpPr txBox="1"/>
          <p:nvPr/>
        </p:nvSpPr>
        <p:spPr>
          <a:xfrm>
            <a:off x="809338" y="1603910"/>
            <a:ext cx="38516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rgbClr val="193598"/>
                </a:solidFill>
                <a:latin typeface="RussianRail G Pro" pitchFamily="50" charset="-52"/>
                <a:ea typeface="Verdana" panose="020B0604030504040204" pitchFamily="34" charset="0"/>
              </a:rPr>
              <a:t>~</a:t>
            </a:r>
          </a:p>
        </p:txBody>
      </p:sp>
      <p:sp>
        <p:nvSpPr>
          <p:cNvPr id="2" name="Полилиния: фигура 1">
            <a:extLst>
              <a:ext uri="{FF2B5EF4-FFF2-40B4-BE49-F238E27FC236}">
                <a16:creationId xmlns="" xmlns:a16="http://schemas.microsoft.com/office/drawing/2014/main" id="{3C65DE73-D678-47EB-AA46-BA70314C2FF0}"/>
              </a:ext>
            </a:extLst>
          </p:cNvPr>
          <p:cNvSpPr/>
          <p:nvPr/>
        </p:nvSpPr>
        <p:spPr>
          <a:xfrm>
            <a:off x="9024829" y="4153945"/>
            <a:ext cx="45719" cy="115014"/>
          </a:xfrm>
          <a:custGeom>
            <a:avLst/>
            <a:gdLst>
              <a:gd name="connsiteX0" fmla="*/ 73890 w 113827"/>
              <a:gd name="connsiteY0" fmla="*/ 0 h 145364"/>
              <a:gd name="connsiteX1" fmla="*/ 64654 w 113827"/>
              <a:gd name="connsiteY1" fmla="*/ 46182 h 145364"/>
              <a:gd name="connsiteX2" fmla="*/ 55418 w 113827"/>
              <a:gd name="connsiteY2" fmla="*/ 73891 h 145364"/>
              <a:gd name="connsiteX3" fmla="*/ 0 w 113827"/>
              <a:gd name="connsiteY3" fmla="*/ 92363 h 145364"/>
              <a:gd name="connsiteX4" fmla="*/ 110836 w 113827"/>
              <a:gd name="connsiteY4" fmla="*/ 120073 h 145364"/>
              <a:gd name="connsiteX5" fmla="*/ 101600 w 113827"/>
              <a:gd name="connsiteY5" fmla="*/ 92363 h 145364"/>
              <a:gd name="connsiteX6" fmla="*/ 83127 w 113827"/>
              <a:gd name="connsiteY6" fmla="*/ 64654 h 145364"/>
              <a:gd name="connsiteX7" fmla="*/ 73890 w 113827"/>
              <a:gd name="connsiteY7" fmla="*/ 0 h 145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3827" h="145364">
                <a:moveTo>
                  <a:pt x="73890" y="0"/>
                </a:moveTo>
                <a:cubicBezTo>
                  <a:pt x="70811" y="15394"/>
                  <a:pt x="68461" y="30952"/>
                  <a:pt x="64654" y="46182"/>
                </a:cubicBezTo>
                <a:cubicBezTo>
                  <a:pt x="62293" y="55627"/>
                  <a:pt x="63340" y="68232"/>
                  <a:pt x="55418" y="73891"/>
                </a:cubicBezTo>
                <a:cubicBezTo>
                  <a:pt x="39573" y="85209"/>
                  <a:pt x="0" y="92363"/>
                  <a:pt x="0" y="92363"/>
                </a:cubicBezTo>
                <a:cubicBezTo>
                  <a:pt x="14488" y="150317"/>
                  <a:pt x="4619" y="162560"/>
                  <a:pt x="110836" y="120073"/>
                </a:cubicBezTo>
                <a:cubicBezTo>
                  <a:pt x="119876" y="116457"/>
                  <a:pt x="105954" y="101071"/>
                  <a:pt x="101600" y="92363"/>
                </a:cubicBezTo>
                <a:cubicBezTo>
                  <a:pt x="96636" y="82434"/>
                  <a:pt x="89285" y="73890"/>
                  <a:pt x="83127" y="64654"/>
                </a:cubicBezTo>
                <a:lnTo>
                  <a:pt x="73890" y="0"/>
                </a:lnTo>
                <a:close/>
              </a:path>
            </a:pathLst>
          </a:custGeom>
          <a:solidFill>
            <a:srgbClr val="92B7E4"/>
          </a:solidFill>
          <a:ln>
            <a:solidFill>
              <a:srgbClr val="92B7E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" name="Группа 8">
            <a:extLst>
              <a:ext uri="{FF2B5EF4-FFF2-40B4-BE49-F238E27FC236}">
                <a16:creationId xmlns="" xmlns:a16="http://schemas.microsoft.com/office/drawing/2014/main" id="{35CFC98E-4173-4B22-962A-76D8B68E8B05}"/>
              </a:ext>
            </a:extLst>
          </p:cNvPr>
          <p:cNvGrpSpPr/>
          <p:nvPr/>
        </p:nvGrpSpPr>
        <p:grpSpPr>
          <a:xfrm>
            <a:off x="9020544" y="4330073"/>
            <a:ext cx="168469" cy="850620"/>
            <a:chOff x="9011330" y="4468368"/>
            <a:chExt cx="168469" cy="850620"/>
          </a:xfrm>
        </p:grpSpPr>
        <p:sp>
          <p:nvSpPr>
            <p:cNvPr id="5" name="Полилиния: фигура 4">
              <a:extLst>
                <a:ext uri="{FF2B5EF4-FFF2-40B4-BE49-F238E27FC236}">
                  <a16:creationId xmlns="" xmlns:a16="http://schemas.microsoft.com/office/drawing/2014/main" id="{C937EA5F-954D-483F-8718-47B0A8DDB6DC}"/>
                </a:ext>
              </a:extLst>
            </p:cNvPr>
            <p:cNvSpPr/>
            <p:nvPr/>
          </p:nvSpPr>
          <p:spPr>
            <a:xfrm>
              <a:off x="9070848" y="4468368"/>
              <a:ext cx="36576" cy="121920"/>
            </a:xfrm>
            <a:custGeom>
              <a:avLst/>
              <a:gdLst>
                <a:gd name="connsiteX0" fmla="*/ 0 w 36576"/>
                <a:gd name="connsiteY0" fmla="*/ 0 h 121920"/>
                <a:gd name="connsiteX1" fmla="*/ 6096 w 36576"/>
                <a:gd name="connsiteY1" fmla="*/ 30480 h 121920"/>
                <a:gd name="connsiteX2" fmla="*/ 18288 w 36576"/>
                <a:gd name="connsiteY2" fmla="*/ 48768 h 121920"/>
                <a:gd name="connsiteX3" fmla="*/ 30480 w 36576"/>
                <a:gd name="connsiteY3" fmla="*/ 85344 h 121920"/>
                <a:gd name="connsiteX4" fmla="*/ 36576 w 36576"/>
                <a:gd name="connsiteY4" fmla="*/ 103632 h 121920"/>
                <a:gd name="connsiteX5" fmla="*/ 36576 w 36576"/>
                <a:gd name="connsiteY5" fmla="*/ 121920 h 121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576" h="121920">
                  <a:moveTo>
                    <a:pt x="0" y="0"/>
                  </a:moveTo>
                  <a:cubicBezTo>
                    <a:pt x="2032" y="10160"/>
                    <a:pt x="2458" y="20778"/>
                    <a:pt x="6096" y="30480"/>
                  </a:cubicBezTo>
                  <a:cubicBezTo>
                    <a:pt x="8668" y="37340"/>
                    <a:pt x="15312" y="42073"/>
                    <a:pt x="18288" y="48768"/>
                  </a:cubicBezTo>
                  <a:cubicBezTo>
                    <a:pt x="23507" y="60512"/>
                    <a:pt x="26416" y="73152"/>
                    <a:pt x="30480" y="85344"/>
                  </a:cubicBezTo>
                  <a:cubicBezTo>
                    <a:pt x="32512" y="91440"/>
                    <a:pt x="36576" y="97206"/>
                    <a:pt x="36576" y="103632"/>
                  </a:cubicBezTo>
                  <a:lnTo>
                    <a:pt x="36576" y="121920"/>
                  </a:lnTo>
                </a:path>
              </a:pathLst>
            </a:custGeom>
            <a:solidFill>
              <a:srgbClr val="92B7E4"/>
            </a:solidFill>
            <a:ln>
              <a:solidFill>
                <a:srgbClr val="F6F6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Полилиния: фигура 5">
              <a:extLst>
                <a:ext uri="{FF2B5EF4-FFF2-40B4-BE49-F238E27FC236}">
                  <a16:creationId xmlns="" xmlns:a16="http://schemas.microsoft.com/office/drawing/2014/main" id="{BA0775E2-C42A-4EEC-BE55-2114014D1BF9}"/>
                </a:ext>
              </a:extLst>
            </p:cNvPr>
            <p:cNvSpPr/>
            <p:nvPr/>
          </p:nvSpPr>
          <p:spPr>
            <a:xfrm>
              <a:off x="9113520" y="4663440"/>
              <a:ext cx="12192" cy="54864"/>
            </a:xfrm>
            <a:custGeom>
              <a:avLst/>
              <a:gdLst>
                <a:gd name="connsiteX0" fmla="*/ 12192 w 12192"/>
                <a:gd name="connsiteY0" fmla="*/ 0 h 54864"/>
                <a:gd name="connsiteX1" fmla="*/ 6096 w 12192"/>
                <a:gd name="connsiteY1" fmla="*/ 30480 h 54864"/>
                <a:gd name="connsiteX2" fmla="*/ 0 w 12192"/>
                <a:gd name="connsiteY2" fmla="*/ 54864 h 54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192" h="54864">
                  <a:moveTo>
                    <a:pt x="12192" y="0"/>
                  </a:moveTo>
                  <a:cubicBezTo>
                    <a:pt x="10160" y="10160"/>
                    <a:pt x="8344" y="20366"/>
                    <a:pt x="6096" y="30480"/>
                  </a:cubicBezTo>
                  <a:cubicBezTo>
                    <a:pt x="4279" y="38659"/>
                    <a:pt x="0" y="54864"/>
                    <a:pt x="0" y="54864"/>
                  </a:cubicBezTo>
                </a:path>
              </a:pathLst>
            </a:custGeom>
            <a:solidFill>
              <a:srgbClr val="92B7E4"/>
            </a:solidFill>
            <a:ln>
              <a:solidFill>
                <a:srgbClr val="F6F6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="" xmlns:a16="http://schemas.microsoft.com/office/drawing/2014/main" id="{3ABDE694-F6B9-42C6-AEE4-27E4F7860D57}"/>
                </a:ext>
              </a:extLst>
            </p:cNvPr>
            <p:cNvSpPr/>
            <p:nvPr/>
          </p:nvSpPr>
          <p:spPr>
            <a:xfrm>
              <a:off x="9089136" y="4815840"/>
              <a:ext cx="36638" cy="42672"/>
            </a:xfrm>
            <a:custGeom>
              <a:avLst/>
              <a:gdLst>
                <a:gd name="connsiteX0" fmla="*/ 12192 w 36638"/>
                <a:gd name="connsiteY0" fmla="*/ 0 h 42672"/>
                <a:gd name="connsiteX1" fmla="*/ 36576 w 36638"/>
                <a:gd name="connsiteY1" fmla="*/ 30480 h 42672"/>
                <a:gd name="connsiteX2" fmla="*/ 18288 w 36638"/>
                <a:gd name="connsiteY2" fmla="*/ 42672 h 42672"/>
                <a:gd name="connsiteX3" fmla="*/ 0 w 36638"/>
                <a:gd name="connsiteY3" fmla="*/ 30480 h 42672"/>
                <a:gd name="connsiteX4" fmla="*/ 12192 w 36638"/>
                <a:gd name="connsiteY4" fmla="*/ 0 h 42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638" h="42672">
                  <a:moveTo>
                    <a:pt x="12192" y="0"/>
                  </a:moveTo>
                  <a:cubicBezTo>
                    <a:pt x="18288" y="0"/>
                    <a:pt x="34736" y="17600"/>
                    <a:pt x="36576" y="30480"/>
                  </a:cubicBezTo>
                  <a:cubicBezTo>
                    <a:pt x="37612" y="37733"/>
                    <a:pt x="25614" y="42672"/>
                    <a:pt x="18288" y="42672"/>
                  </a:cubicBezTo>
                  <a:cubicBezTo>
                    <a:pt x="10962" y="42672"/>
                    <a:pt x="6096" y="34544"/>
                    <a:pt x="0" y="30480"/>
                  </a:cubicBezTo>
                  <a:cubicBezTo>
                    <a:pt x="19979" y="17161"/>
                    <a:pt x="6096" y="0"/>
                    <a:pt x="12192" y="0"/>
                  </a:cubicBezTo>
                  <a:close/>
                </a:path>
              </a:pathLst>
            </a:custGeom>
            <a:solidFill>
              <a:srgbClr val="92B7E4"/>
            </a:solidFill>
            <a:ln>
              <a:solidFill>
                <a:srgbClr val="F6F6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="" xmlns:a16="http://schemas.microsoft.com/office/drawing/2014/main" id="{FD803C00-44C0-4F43-8313-56ECAA9A65ED}"/>
                </a:ext>
              </a:extLst>
            </p:cNvPr>
            <p:cNvSpPr/>
            <p:nvPr/>
          </p:nvSpPr>
          <p:spPr>
            <a:xfrm rot="10800000">
              <a:off x="9116134" y="4735372"/>
              <a:ext cx="63665" cy="189385"/>
            </a:xfrm>
            <a:custGeom>
              <a:avLst/>
              <a:gdLst>
                <a:gd name="connsiteX0" fmla="*/ 68668 w 73998"/>
                <a:gd name="connsiteY0" fmla="*/ 114300 h 129540"/>
                <a:gd name="connsiteX1" fmla="*/ 61048 w 73998"/>
                <a:gd name="connsiteY1" fmla="*/ 60960 h 129540"/>
                <a:gd name="connsiteX2" fmla="*/ 53428 w 73998"/>
                <a:gd name="connsiteY2" fmla="*/ 83820 h 129540"/>
                <a:gd name="connsiteX3" fmla="*/ 38188 w 73998"/>
                <a:gd name="connsiteY3" fmla="*/ 106680 h 129540"/>
                <a:gd name="connsiteX4" fmla="*/ 45808 w 73998"/>
                <a:gd name="connsiteY4" fmla="*/ 129540 h 129540"/>
                <a:gd name="connsiteX5" fmla="*/ 68668 w 73998"/>
                <a:gd name="connsiteY5" fmla="*/ 114300 h 129540"/>
                <a:gd name="connsiteX6" fmla="*/ 38188 w 73998"/>
                <a:gd name="connsiteY6" fmla="*/ 45720 h 129540"/>
                <a:gd name="connsiteX7" fmla="*/ 22948 w 73998"/>
                <a:gd name="connsiteY7" fmla="*/ 22860 h 129540"/>
                <a:gd name="connsiteX8" fmla="*/ 22948 w 73998"/>
                <a:gd name="connsiteY8" fmla="*/ 0 h 129540"/>
                <a:gd name="connsiteX9" fmla="*/ 53428 w 73998"/>
                <a:gd name="connsiteY9" fmla="*/ 7620 h 129540"/>
                <a:gd name="connsiteX10" fmla="*/ 68668 w 73998"/>
                <a:gd name="connsiteY10" fmla="*/ 30480 h 129540"/>
                <a:gd name="connsiteX11" fmla="*/ 68668 w 73998"/>
                <a:gd name="connsiteY11" fmla="*/ 114300 h 129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3998" h="129540">
                  <a:moveTo>
                    <a:pt x="68668" y="114300"/>
                  </a:moveTo>
                  <a:cubicBezTo>
                    <a:pt x="67398" y="119380"/>
                    <a:pt x="61048" y="60960"/>
                    <a:pt x="61048" y="60960"/>
                  </a:cubicBezTo>
                  <a:cubicBezTo>
                    <a:pt x="58508" y="68580"/>
                    <a:pt x="57020" y="76636"/>
                    <a:pt x="53428" y="83820"/>
                  </a:cubicBezTo>
                  <a:cubicBezTo>
                    <a:pt x="49332" y="92011"/>
                    <a:pt x="39694" y="97647"/>
                    <a:pt x="38188" y="106680"/>
                  </a:cubicBezTo>
                  <a:cubicBezTo>
                    <a:pt x="36868" y="114603"/>
                    <a:pt x="43268" y="121920"/>
                    <a:pt x="45808" y="129540"/>
                  </a:cubicBezTo>
                  <a:cubicBezTo>
                    <a:pt x="53428" y="124460"/>
                    <a:pt x="66872" y="123280"/>
                    <a:pt x="68668" y="114300"/>
                  </a:cubicBezTo>
                  <a:cubicBezTo>
                    <a:pt x="81054" y="52371"/>
                    <a:pt x="72238" y="57070"/>
                    <a:pt x="38188" y="45720"/>
                  </a:cubicBezTo>
                  <a:cubicBezTo>
                    <a:pt x="33108" y="38100"/>
                    <a:pt x="29424" y="29336"/>
                    <a:pt x="22948" y="22860"/>
                  </a:cubicBezTo>
                  <a:cubicBezTo>
                    <a:pt x="791" y="703"/>
                    <a:pt x="-15078" y="12675"/>
                    <a:pt x="22948" y="0"/>
                  </a:cubicBezTo>
                  <a:cubicBezTo>
                    <a:pt x="33108" y="2540"/>
                    <a:pt x="44714" y="1811"/>
                    <a:pt x="53428" y="7620"/>
                  </a:cubicBezTo>
                  <a:cubicBezTo>
                    <a:pt x="61048" y="12700"/>
                    <a:pt x="68016" y="21345"/>
                    <a:pt x="68668" y="30480"/>
                  </a:cubicBezTo>
                  <a:cubicBezTo>
                    <a:pt x="74182" y="107671"/>
                    <a:pt x="69938" y="109220"/>
                    <a:pt x="68668" y="114300"/>
                  </a:cubicBezTo>
                  <a:close/>
                </a:path>
              </a:pathLst>
            </a:custGeom>
            <a:solidFill>
              <a:srgbClr val="92B7E4"/>
            </a:solidFill>
            <a:ln>
              <a:solidFill>
                <a:srgbClr val="F6F6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2" name="Полилиния: фигура 141">
              <a:extLst>
                <a:ext uri="{FF2B5EF4-FFF2-40B4-BE49-F238E27FC236}">
                  <a16:creationId xmlns="" xmlns:a16="http://schemas.microsoft.com/office/drawing/2014/main" id="{FC9D5E1D-72AE-4A83-AA98-494C289C1BA2}"/>
                </a:ext>
              </a:extLst>
            </p:cNvPr>
            <p:cNvSpPr/>
            <p:nvPr/>
          </p:nvSpPr>
          <p:spPr>
            <a:xfrm rot="580976">
              <a:off x="9099916" y="4962055"/>
              <a:ext cx="65261" cy="356933"/>
            </a:xfrm>
            <a:custGeom>
              <a:avLst/>
              <a:gdLst>
                <a:gd name="connsiteX0" fmla="*/ 68668 w 73998"/>
                <a:gd name="connsiteY0" fmla="*/ 114300 h 129540"/>
                <a:gd name="connsiteX1" fmla="*/ 61048 w 73998"/>
                <a:gd name="connsiteY1" fmla="*/ 60960 h 129540"/>
                <a:gd name="connsiteX2" fmla="*/ 53428 w 73998"/>
                <a:gd name="connsiteY2" fmla="*/ 83820 h 129540"/>
                <a:gd name="connsiteX3" fmla="*/ 38188 w 73998"/>
                <a:gd name="connsiteY3" fmla="*/ 106680 h 129540"/>
                <a:gd name="connsiteX4" fmla="*/ 45808 w 73998"/>
                <a:gd name="connsiteY4" fmla="*/ 129540 h 129540"/>
                <a:gd name="connsiteX5" fmla="*/ 68668 w 73998"/>
                <a:gd name="connsiteY5" fmla="*/ 114300 h 129540"/>
                <a:gd name="connsiteX6" fmla="*/ 38188 w 73998"/>
                <a:gd name="connsiteY6" fmla="*/ 45720 h 129540"/>
                <a:gd name="connsiteX7" fmla="*/ 22948 w 73998"/>
                <a:gd name="connsiteY7" fmla="*/ 22860 h 129540"/>
                <a:gd name="connsiteX8" fmla="*/ 22948 w 73998"/>
                <a:gd name="connsiteY8" fmla="*/ 0 h 129540"/>
                <a:gd name="connsiteX9" fmla="*/ 53428 w 73998"/>
                <a:gd name="connsiteY9" fmla="*/ 7620 h 129540"/>
                <a:gd name="connsiteX10" fmla="*/ 68668 w 73998"/>
                <a:gd name="connsiteY10" fmla="*/ 30480 h 129540"/>
                <a:gd name="connsiteX11" fmla="*/ 68668 w 73998"/>
                <a:gd name="connsiteY11" fmla="*/ 114300 h 129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3998" h="129540">
                  <a:moveTo>
                    <a:pt x="68668" y="114300"/>
                  </a:moveTo>
                  <a:cubicBezTo>
                    <a:pt x="67398" y="119380"/>
                    <a:pt x="61048" y="60960"/>
                    <a:pt x="61048" y="60960"/>
                  </a:cubicBezTo>
                  <a:cubicBezTo>
                    <a:pt x="58508" y="68580"/>
                    <a:pt x="57020" y="76636"/>
                    <a:pt x="53428" y="83820"/>
                  </a:cubicBezTo>
                  <a:cubicBezTo>
                    <a:pt x="49332" y="92011"/>
                    <a:pt x="39694" y="97647"/>
                    <a:pt x="38188" y="106680"/>
                  </a:cubicBezTo>
                  <a:cubicBezTo>
                    <a:pt x="36868" y="114603"/>
                    <a:pt x="43268" y="121920"/>
                    <a:pt x="45808" y="129540"/>
                  </a:cubicBezTo>
                  <a:cubicBezTo>
                    <a:pt x="53428" y="124460"/>
                    <a:pt x="66872" y="123280"/>
                    <a:pt x="68668" y="114300"/>
                  </a:cubicBezTo>
                  <a:cubicBezTo>
                    <a:pt x="81054" y="52371"/>
                    <a:pt x="72238" y="57070"/>
                    <a:pt x="38188" y="45720"/>
                  </a:cubicBezTo>
                  <a:cubicBezTo>
                    <a:pt x="33108" y="38100"/>
                    <a:pt x="29424" y="29336"/>
                    <a:pt x="22948" y="22860"/>
                  </a:cubicBezTo>
                  <a:cubicBezTo>
                    <a:pt x="791" y="703"/>
                    <a:pt x="-15078" y="12675"/>
                    <a:pt x="22948" y="0"/>
                  </a:cubicBezTo>
                  <a:cubicBezTo>
                    <a:pt x="33108" y="2540"/>
                    <a:pt x="44714" y="1811"/>
                    <a:pt x="53428" y="7620"/>
                  </a:cubicBezTo>
                  <a:cubicBezTo>
                    <a:pt x="61048" y="12700"/>
                    <a:pt x="68016" y="21345"/>
                    <a:pt x="68668" y="30480"/>
                  </a:cubicBezTo>
                  <a:cubicBezTo>
                    <a:pt x="74182" y="107671"/>
                    <a:pt x="69938" y="109220"/>
                    <a:pt x="68668" y="114300"/>
                  </a:cubicBezTo>
                  <a:close/>
                </a:path>
              </a:pathLst>
            </a:custGeom>
            <a:solidFill>
              <a:srgbClr val="92B7E4"/>
            </a:solidFill>
            <a:ln w="3175">
              <a:solidFill>
                <a:srgbClr val="F6F6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3" name="Полилиния: фигура 142">
              <a:extLst>
                <a:ext uri="{FF2B5EF4-FFF2-40B4-BE49-F238E27FC236}">
                  <a16:creationId xmlns="" xmlns:a16="http://schemas.microsoft.com/office/drawing/2014/main" id="{B8E2267D-A486-4D52-89D7-43FB25D4CFAC}"/>
                </a:ext>
              </a:extLst>
            </p:cNvPr>
            <p:cNvSpPr/>
            <p:nvPr/>
          </p:nvSpPr>
          <p:spPr>
            <a:xfrm>
              <a:off x="9011330" y="4586651"/>
              <a:ext cx="36638" cy="42672"/>
            </a:xfrm>
            <a:custGeom>
              <a:avLst/>
              <a:gdLst>
                <a:gd name="connsiteX0" fmla="*/ 12192 w 36638"/>
                <a:gd name="connsiteY0" fmla="*/ 0 h 42672"/>
                <a:gd name="connsiteX1" fmla="*/ 36576 w 36638"/>
                <a:gd name="connsiteY1" fmla="*/ 30480 h 42672"/>
                <a:gd name="connsiteX2" fmla="*/ 18288 w 36638"/>
                <a:gd name="connsiteY2" fmla="*/ 42672 h 42672"/>
                <a:gd name="connsiteX3" fmla="*/ 0 w 36638"/>
                <a:gd name="connsiteY3" fmla="*/ 30480 h 42672"/>
                <a:gd name="connsiteX4" fmla="*/ 12192 w 36638"/>
                <a:gd name="connsiteY4" fmla="*/ 0 h 42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638" h="42672">
                  <a:moveTo>
                    <a:pt x="12192" y="0"/>
                  </a:moveTo>
                  <a:cubicBezTo>
                    <a:pt x="18288" y="0"/>
                    <a:pt x="34736" y="17600"/>
                    <a:pt x="36576" y="30480"/>
                  </a:cubicBezTo>
                  <a:cubicBezTo>
                    <a:pt x="37612" y="37733"/>
                    <a:pt x="25614" y="42672"/>
                    <a:pt x="18288" y="42672"/>
                  </a:cubicBezTo>
                  <a:cubicBezTo>
                    <a:pt x="10962" y="42672"/>
                    <a:pt x="6096" y="34544"/>
                    <a:pt x="0" y="30480"/>
                  </a:cubicBezTo>
                  <a:cubicBezTo>
                    <a:pt x="19979" y="17161"/>
                    <a:pt x="6096" y="0"/>
                    <a:pt x="12192" y="0"/>
                  </a:cubicBezTo>
                  <a:close/>
                </a:path>
              </a:pathLst>
            </a:custGeom>
            <a:solidFill>
              <a:srgbClr val="92B7E4"/>
            </a:solidFill>
            <a:ln>
              <a:solidFill>
                <a:srgbClr val="F6F6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4" name="Полилиния: фигура 143">
              <a:extLst>
                <a:ext uri="{FF2B5EF4-FFF2-40B4-BE49-F238E27FC236}">
                  <a16:creationId xmlns="" xmlns:a16="http://schemas.microsoft.com/office/drawing/2014/main" id="{E078D75A-D76B-4767-9592-F8008250ED6F}"/>
                </a:ext>
              </a:extLst>
            </p:cNvPr>
            <p:cNvSpPr/>
            <p:nvPr/>
          </p:nvSpPr>
          <p:spPr>
            <a:xfrm>
              <a:off x="9047015" y="4658265"/>
              <a:ext cx="36638" cy="42672"/>
            </a:xfrm>
            <a:custGeom>
              <a:avLst/>
              <a:gdLst>
                <a:gd name="connsiteX0" fmla="*/ 12192 w 36638"/>
                <a:gd name="connsiteY0" fmla="*/ 0 h 42672"/>
                <a:gd name="connsiteX1" fmla="*/ 36576 w 36638"/>
                <a:gd name="connsiteY1" fmla="*/ 30480 h 42672"/>
                <a:gd name="connsiteX2" fmla="*/ 18288 w 36638"/>
                <a:gd name="connsiteY2" fmla="*/ 42672 h 42672"/>
                <a:gd name="connsiteX3" fmla="*/ 0 w 36638"/>
                <a:gd name="connsiteY3" fmla="*/ 30480 h 42672"/>
                <a:gd name="connsiteX4" fmla="*/ 12192 w 36638"/>
                <a:gd name="connsiteY4" fmla="*/ 0 h 42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638" h="42672">
                  <a:moveTo>
                    <a:pt x="12192" y="0"/>
                  </a:moveTo>
                  <a:cubicBezTo>
                    <a:pt x="18288" y="0"/>
                    <a:pt x="34736" y="17600"/>
                    <a:pt x="36576" y="30480"/>
                  </a:cubicBezTo>
                  <a:cubicBezTo>
                    <a:pt x="37612" y="37733"/>
                    <a:pt x="25614" y="42672"/>
                    <a:pt x="18288" y="42672"/>
                  </a:cubicBezTo>
                  <a:cubicBezTo>
                    <a:pt x="10962" y="42672"/>
                    <a:pt x="6096" y="34544"/>
                    <a:pt x="0" y="30480"/>
                  </a:cubicBezTo>
                  <a:cubicBezTo>
                    <a:pt x="19979" y="17161"/>
                    <a:pt x="6096" y="0"/>
                    <a:pt x="12192" y="0"/>
                  </a:cubicBezTo>
                  <a:close/>
                </a:path>
              </a:pathLst>
            </a:custGeom>
            <a:solidFill>
              <a:srgbClr val="92B7E4"/>
            </a:solidFill>
            <a:ln>
              <a:solidFill>
                <a:srgbClr val="F6F6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5" name="Полилиния: фигура 144">
              <a:extLst>
                <a:ext uri="{FF2B5EF4-FFF2-40B4-BE49-F238E27FC236}">
                  <a16:creationId xmlns="" xmlns:a16="http://schemas.microsoft.com/office/drawing/2014/main" id="{E48606C5-9A8B-4655-A627-6042F06F267B}"/>
                </a:ext>
              </a:extLst>
            </p:cNvPr>
            <p:cNvSpPr/>
            <p:nvPr/>
          </p:nvSpPr>
          <p:spPr>
            <a:xfrm>
              <a:off x="9011330" y="4515038"/>
              <a:ext cx="36638" cy="42672"/>
            </a:xfrm>
            <a:custGeom>
              <a:avLst/>
              <a:gdLst>
                <a:gd name="connsiteX0" fmla="*/ 12192 w 36638"/>
                <a:gd name="connsiteY0" fmla="*/ 0 h 42672"/>
                <a:gd name="connsiteX1" fmla="*/ 36576 w 36638"/>
                <a:gd name="connsiteY1" fmla="*/ 30480 h 42672"/>
                <a:gd name="connsiteX2" fmla="*/ 18288 w 36638"/>
                <a:gd name="connsiteY2" fmla="*/ 42672 h 42672"/>
                <a:gd name="connsiteX3" fmla="*/ 0 w 36638"/>
                <a:gd name="connsiteY3" fmla="*/ 30480 h 42672"/>
                <a:gd name="connsiteX4" fmla="*/ 12192 w 36638"/>
                <a:gd name="connsiteY4" fmla="*/ 0 h 42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638" h="42672">
                  <a:moveTo>
                    <a:pt x="12192" y="0"/>
                  </a:moveTo>
                  <a:cubicBezTo>
                    <a:pt x="18288" y="0"/>
                    <a:pt x="34736" y="17600"/>
                    <a:pt x="36576" y="30480"/>
                  </a:cubicBezTo>
                  <a:cubicBezTo>
                    <a:pt x="37612" y="37733"/>
                    <a:pt x="25614" y="42672"/>
                    <a:pt x="18288" y="42672"/>
                  </a:cubicBezTo>
                  <a:cubicBezTo>
                    <a:pt x="10962" y="42672"/>
                    <a:pt x="6096" y="34544"/>
                    <a:pt x="0" y="30480"/>
                  </a:cubicBezTo>
                  <a:cubicBezTo>
                    <a:pt x="19979" y="17161"/>
                    <a:pt x="6096" y="0"/>
                    <a:pt x="12192" y="0"/>
                  </a:cubicBezTo>
                  <a:close/>
                </a:path>
              </a:pathLst>
            </a:custGeom>
            <a:solidFill>
              <a:srgbClr val="92B7E4"/>
            </a:solidFill>
            <a:ln>
              <a:solidFill>
                <a:srgbClr val="F6F6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7" name="TextBox 136">
            <a:extLst>
              <a:ext uri="{FF2B5EF4-FFF2-40B4-BE49-F238E27FC236}">
                <a16:creationId xmlns="" xmlns:a16="http://schemas.microsoft.com/office/drawing/2014/main" id="{D24A19EC-FB94-4664-AB82-754DE8B16910}"/>
              </a:ext>
            </a:extLst>
          </p:cNvPr>
          <p:cNvSpPr txBox="1"/>
          <p:nvPr/>
        </p:nvSpPr>
        <p:spPr>
          <a:xfrm>
            <a:off x="4163047" y="1624815"/>
            <a:ext cx="3383901" cy="923326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just"/>
            <a:r>
              <a:rPr lang="en-US" sz="3600" dirty="0" smtClean="0">
                <a:solidFill>
                  <a:srgbClr val="193598"/>
                </a:solidFill>
                <a:latin typeface="RussianRail G Pro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&gt;</a:t>
            </a:r>
            <a:r>
              <a:rPr lang="en-US" sz="2000" dirty="0" smtClean="0">
                <a:solidFill>
                  <a:srgbClr val="1935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3600" dirty="0" smtClean="0">
                <a:solidFill>
                  <a:srgbClr val="193598"/>
                </a:solidFill>
                <a:latin typeface="RussianRail G Pro" pitchFamily="50" charset="-52"/>
                <a:ea typeface="Verdana" panose="020B0604030504040204" pitchFamily="34" charset="0"/>
              </a:rPr>
              <a:t>1</a:t>
            </a:r>
            <a:r>
              <a:rPr lang="ru-RU" sz="3600" dirty="0" smtClean="0">
                <a:solidFill>
                  <a:srgbClr val="193598"/>
                </a:solidFill>
                <a:latin typeface="RussianRail G Pro" pitchFamily="50" charset="-52"/>
                <a:ea typeface="Verdana" panose="020B0604030504040204" pitchFamily="34" charset="0"/>
              </a:rPr>
              <a:t>35</a:t>
            </a:r>
            <a:r>
              <a:rPr lang="en-US" sz="3600" dirty="0" smtClean="0">
                <a:solidFill>
                  <a:srgbClr val="193598"/>
                </a:solidFill>
                <a:latin typeface="RussianRail G Pro" pitchFamily="50" charset="-52"/>
                <a:ea typeface="Verdana" panose="020B0604030504040204" pitchFamily="34" charset="0"/>
              </a:rPr>
              <a:t>0 </a:t>
            </a:r>
            <a:endParaRPr lang="ru-RU" sz="3600" dirty="0" smtClean="0">
              <a:solidFill>
                <a:srgbClr val="193598"/>
              </a:solidFill>
              <a:latin typeface="RussianRail G Pro" pitchFamily="50" charset="-52"/>
              <a:ea typeface="Verdana" panose="020B0604030504040204" pitchFamily="34" charset="0"/>
            </a:endParaRPr>
          </a:p>
          <a:p>
            <a:pPr algn="just"/>
            <a:r>
              <a:rPr lang="ru-RU" sz="1600" spc="150" dirty="0" smtClean="0">
                <a:ln w="15875" cap="sq">
                  <a:noFill/>
                  <a:miter lim="800000"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фессий</a:t>
            </a:r>
          </a:p>
        </p:txBody>
      </p:sp>
      <p:sp>
        <p:nvSpPr>
          <p:cNvPr id="139" name="Прямоугольник 138"/>
          <p:cNvSpPr/>
          <p:nvPr/>
        </p:nvSpPr>
        <p:spPr>
          <a:xfrm>
            <a:off x="9348073" y="1513354"/>
            <a:ext cx="2539127" cy="677104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ru-RU" sz="3600" dirty="0" smtClean="0">
                <a:solidFill>
                  <a:srgbClr val="4B66CA"/>
                </a:solidFill>
                <a:latin typeface="RussianRail G Pro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2,8</a:t>
            </a:r>
            <a:r>
              <a:rPr lang="ru-RU" sz="2100" dirty="0" smtClean="0">
                <a:solidFill>
                  <a:srgbClr val="1935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2000" b="1" spc="200" dirty="0" smtClean="0">
                <a:ln cap="sq">
                  <a:noFill/>
                  <a:miter lim="800000"/>
                </a:ln>
                <a:solidFill>
                  <a:srgbClr val="4B66C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ыс.</a:t>
            </a:r>
            <a:r>
              <a:rPr lang="ru-RU" sz="1600" spc="150" dirty="0" smtClean="0">
                <a:ln w="15875" cap="sq">
                  <a:noFill/>
                  <a:miter lim="800000"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40" name="Прямоугольник 139"/>
          <p:cNvSpPr/>
          <p:nvPr/>
        </p:nvSpPr>
        <p:spPr>
          <a:xfrm>
            <a:off x="9371249" y="2754807"/>
            <a:ext cx="3802456" cy="677104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ru-RU" sz="3600" dirty="0" smtClean="0">
                <a:solidFill>
                  <a:srgbClr val="4B66CA"/>
                </a:solidFill>
                <a:latin typeface="RussianRail G Pro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12,7</a:t>
            </a:r>
            <a:r>
              <a:rPr lang="ru-RU" sz="2100" dirty="0" smtClean="0">
                <a:solidFill>
                  <a:srgbClr val="1935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2000" b="1" spc="200" dirty="0" smtClean="0">
                <a:ln cap="sq">
                  <a:noFill/>
                  <a:miter lim="800000"/>
                </a:ln>
                <a:solidFill>
                  <a:srgbClr val="4B66C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ыс.</a:t>
            </a:r>
            <a:r>
              <a:rPr lang="ru-RU" sz="1600" dirty="0" smtClean="0">
                <a:solidFill>
                  <a:srgbClr val="4652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41" name="Прямоугольник 140"/>
          <p:cNvSpPr/>
          <p:nvPr/>
        </p:nvSpPr>
        <p:spPr>
          <a:xfrm>
            <a:off x="9377385" y="2052612"/>
            <a:ext cx="3802456" cy="615549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ru-RU" sz="1600" spc="150" dirty="0" smtClean="0">
                <a:ln w="15875" cap="sq">
                  <a:noFill/>
                  <a:miter lim="800000"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ециалистов </a:t>
            </a:r>
            <a:br>
              <a:rPr lang="ru-RU" sz="1600" spc="150" dirty="0" smtClean="0">
                <a:ln w="15875" cap="sq">
                  <a:noFill/>
                  <a:miter lim="800000"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600" spc="150" dirty="0" smtClean="0">
                <a:ln w="15875" cap="sq">
                  <a:noFill/>
                  <a:miter lim="800000"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охране труда</a:t>
            </a:r>
          </a:p>
        </p:txBody>
      </p:sp>
      <p:sp>
        <p:nvSpPr>
          <p:cNvPr id="146" name="Прямоугольник 145"/>
          <p:cNvSpPr/>
          <p:nvPr/>
        </p:nvSpPr>
        <p:spPr>
          <a:xfrm>
            <a:off x="9400558" y="3250105"/>
            <a:ext cx="3802456" cy="615549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ru-RU" sz="1600" spc="150" dirty="0" smtClean="0">
                <a:ln w="15875" cap="sq">
                  <a:noFill/>
                  <a:miter lim="800000"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полномоченных </a:t>
            </a:r>
            <a:br>
              <a:rPr lang="ru-RU" sz="1600" spc="150" dirty="0" smtClean="0">
                <a:ln w="15875" cap="sq">
                  <a:noFill/>
                  <a:miter lim="800000"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600" spc="150" dirty="0" smtClean="0">
                <a:ln w="15875" cap="sq">
                  <a:noFill/>
                  <a:miter lim="800000"/>
                </a:ln>
                <a:solidFill>
                  <a:srgbClr val="3C3C3B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охране труда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="" xmlns:a16="http://schemas.microsoft.com/office/drawing/2014/main" id="{D24A19EC-FB94-4664-AB82-754DE8B16910}"/>
              </a:ext>
            </a:extLst>
          </p:cNvPr>
          <p:cNvSpPr txBox="1"/>
          <p:nvPr/>
        </p:nvSpPr>
        <p:spPr>
          <a:xfrm>
            <a:off x="1132787" y="1566174"/>
            <a:ext cx="3383901" cy="738660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just"/>
            <a:r>
              <a:rPr lang="ru-RU" sz="3600" dirty="0" smtClean="0">
                <a:solidFill>
                  <a:srgbClr val="193598"/>
                </a:solidFill>
                <a:latin typeface="RussianRail G Pro" pitchFamily="50" charset="-52"/>
                <a:ea typeface="Verdana" panose="020B0604030504040204" pitchFamily="34" charset="0"/>
              </a:rPr>
              <a:t>700</a:t>
            </a:r>
            <a:r>
              <a:rPr lang="ru-RU" sz="4000" dirty="0" smtClean="0">
                <a:solidFill>
                  <a:srgbClr val="193598"/>
                </a:solidFill>
                <a:latin typeface="RussianRail G Pro" pitchFamily="50" charset="-52"/>
                <a:ea typeface="Verdana" panose="020B0604030504040204" pitchFamily="34" charset="0"/>
              </a:rPr>
              <a:t> </a:t>
            </a:r>
            <a:r>
              <a:rPr lang="ru-RU" sz="2000" b="1" spc="200" dirty="0" smtClean="0">
                <a:ln cap="sq">
                  <a:noFill/>
                  <a:miter lim="800000"/>
                </a:ln>
                <a:solidFill>
                  <a:srgbClr val="19359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ыс.</a:t>
            </a:r>
            <a:endParaRPr lang="ru-RU" sz="1600" dirty="0" smtClean="0">
              <a:solidFill>
                <a:srgbClr val="193598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47504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FE891A01-1469-D41F-830F-28E6FB70C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36" y="365126"/>
            <a:ext cx="8892521" cy="730418"/>
          </a:xfrm>
        </p:spPr>
        <p:txBody>
          <a:bodyPr>
            <a:normAutofit fontScale="90000"/>
          </a:bodyPr>
          <a:lstStyle/>
          <a:p>
            <a:r>
              <a:rPr lang="ru-RU" dirty="0"/>
              <a:t>/ </a:t>
            </a:r>
            <a:r>
              <a:rPr lang="ru-RU" dirty="0" smtClean="0"/>
              <a:t>ДЕПАРТАМЕНТ ЭКОЛОГИИ И ТЕХНОСФЕРНОЙ БЕЗОПАСНОСТИ</a:t>
            </a:r>
            <a:endParaRPr lang="ru-RU" dirty="0"/>
          </a:p>
        </p:txBody>
      </p:sp>
      <p:grpSp>
        <p:nvGrpSpPr>
          <p:cNvPr id="125" name="Группа 124"/>
          <p:cNvGrpSpPr/>
          <p:nvPr/>
        </p:nvGrpSpPr>
        <p:grpSpPr>
          <a:xfrm>
            <a:off x="239195" y="2349243"/>
            <a:ext cx="2447925" cy="884581"/>
            <a:chOff x="191069" y="1218278"/>
            <a:chExt cx="2447925" cy="884581"/>
          </a:xfrm>
        </p:grpSpPr>
        <p:grpSp>
          <p:nvGrpSpPr>
            <p:cNvPr id="105" name="Группа 3" descr="Профиль верхнего уровня с фотографией">
              <a:extLst>
                <a:ext uri="{FF2B5EF4-FFF2-40B4-BE49-F238E27FC236}">
                  <a16:creationId xmlns:a16="http://schemas.microsoft.com/office/drawing/2014/main" xmlns="" id="{698451B1-6B2D-4AE4-B51C-8D10BAA9A5A9}"/>
                </a:ext>
              </a:extLst>
            </p:cNvPr>
            <p:cNvGrpSpPr/>
            <p:nvPr/>
          </p:nvGrpSpPr>
          <p:grpSpPr>
            <a:xfrm>
              <a:off x="191069" y="1218278"/>
              <a:ext cx="2447925" cy="884581"/>
              <a:chOff x="4505324" y="2049185"/>
              <a:chExt cx="2447925" cy="979785"/>
            </a:xfrm>
          </p:grpSpPr>
          <p:pic>
            <p:nvPicPr>
              <p:cNvPr id="106" name="Рисунок 105" descr="Тень">
                <a:extLst>
                  <a:ext uri="{FF2B5EF4-FFF2-40B4-BE49-F238E27FC236}">
                    <a16:creationId xmlns:a16="http://schemas.microsoft.com/office/drawing/2014/main" xmlns="" id="{F245D002-0E2F-47AB-A3FE-858C55C5106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l="10267" t="62187" r="9778" b="8282"/>
              <a:stretch/>
            </p:blipFill>
            <p:spPr>
              <a:xfrm>
                <a:off x="4505324" y="2327786"/>
                <a:ext cx="2447925" cy="701184"/>
              </a:xfrm>
              <a:prstGeom prst="rect">
                <a:avLst/>
              </a:prstGeom>
            </p:spPr>
          </p:pic>
          <p:sp>
            <p:nvSpPr>
              <p:cNvPr id="107" name="Прямоугольник 21">
                <a:extLst>
                  <a:ext uri="{FF2B5EF4-FFF2-40B4-BE49-F238E27FC236}">
                    <a16:creationId xmlns:a16="http://schemas.microsoft.com/office/drawing/2014/main" xmlns="" id="{C0F155BC-DD9C-4143-BA7B-A806DC1690A0}"/>
                  </a:ext>
                </a:extLst>
              </p:cNvPr>
              <p:cNvSpPr/>
              <p:nvPr/>
            </p:nvSpPr>
            <p:spPr>
              <a:xfrm>
                <a:off x="4656000" y="2049185"/>
                <a:ext cx="2068650" cy="684000"/>
              </a:xfrm>
              <a:prstGeom prst="rect">
                <a:avLst/>
              </a:prstGeom>
              <a:solidFill>
                <a:srgbClr val="465267"/>
              </a:solidFill>
              <a:scene3d>
                <a:camera prst="orthographicFront"/>
                <a:lightRig rig="flat" dir="t"/>
              </a:scene3d>
              <a:sp3d prstMaterial="dkEdge"/>
            </p:spPr>
            <p:style>
              <a:lnRef idx="0">
                <a:schemeClr val="lt2">
                  <a:hueOff val="0"/>
                  <a:satOff val="0"/>
                  <a:lumOff val="0"/>
                  <a:alphaOff val="0"/>
                </a:schemeClr>
              </a:lnRef>
              <a:fillRef idx="2">
                <a:schemeClr val="dk2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dk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/>
              </a:fontRef>
            </p:style>
            <p:txBody>
              <a:bodyPr spcFirstLastPara="0" vert="horz" wrap="square" lIns="720000" tIns="5080" rIns="5080" bIns="5080" numCol="1" spcCol="1270" rtlCol="0" anchor="ctr" anchorCtr="0">
                <a:noAutofit/>
              </a:bodyPr>
              <a:lstStyle/>
              <a:p>
                <a:pPr marL="0" lvl="0" indent="0" defTabSz="35560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ru-RU" sz="800" kern="1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14" name="Прямоугольник 113">
              <a:extLst>
                <a:ext uri="{FF2B5EF4-FFF2-40B4-BE49-F238E27FC236}">
                  <a16:creationId xmlns:a16="http://schemas.microsoft.com/office/drawing/2014/main" xmlns="" id="{48684459-4DA0-4663-B416-791A22BA701D}"/>
                </a:ext>
              </a:extLst>
            </p:cNvPr>
            <p:cNvSpPr/>
            <p:nvPr/>
          </p:nvSpPr>
          <p:spPr>
            <a:xfrm>
              <a:off x="412087" y="1385184"/>
              <a:ext cx="189946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200" cap="all" dirty="0" smtClean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ОХРАНА труда</a:t>
              </a:r>
              <a:endParaRPr lang="ru-RU" sz="1200" cap="all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126" name="Группа 125"/>
          <p:cNvGrpSpPr/>
          <p:nvPr/>
        </p:nvGrpSpPr>
        <p:grpSpPr>
          <a:xfrm>
            <a:off x="1928357" y="3690109"/>
            <a:ext cx="2447925" cy="884581"/>
            <a:chOff x="2541967" y="1223636"/>
            <a:chExt cx="2447925" cy="884581"/>
          </a:xfrm>
        </p:grpSpPr>
        <p:grpSp>
          <p:nvGrpSpPr>
            <p:cNvPr id="108" name="Группа 25" descr="Профиль верхнего уровня с фотографией">
              <a:extLst>
                <a:ext uri="{FF2B5EF4-FFF2-40B4-BE49-F238E27FC236}">
                  <a16:creationId xmlns:a16="http://schemas.microsoft.com/office/drawing/2014/main" xmlns="" id="{3CB3A25C-ABC4-4B31-A042-75BA8B515930}"/>
                </a:ext>
              </a:extLst>
            </p:cNvPr>
            <p:cNvGrpSpPr/>
            <p:nvPr/>
          </p:nvGrpSpPr>
          <p:grpSpPr>
            <a:xfrm>
              <a:off x="2541967" y="1223636"/>
              <a:ext cx="2447925" cy="884581"/>
              <a:chOff x="4505324" y="2049185"/>
              <a:chExt cx="2447925" cy="979785"/>
            </a:xfrm>
          </p:grpSpPr>
          <p:pic>
            <p:nvPicPr>
              <p:cNvPr id="109" name="Рисунок 108" descr="Тень">
                <a:extLst>
                  <a:ext uri="{FF2B5EF4-FFF2-40B4-BE49-F238E27FC236}">
                    <a16:creationId xmlns:a16="http://schemas.microsoft.com/office/drawing/2014/main" xmlns="" id="{32219D9B-7690-4D44-A5EA-B2FDB0C0884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l="10267" t="62187" r="9778" b="8282"/>
              <a:stretch/>
            </p:blipFill>
            <p:spPr>
              <a:xfrm>
                <a:off x="4505324" y="2327786"/>
                <a:ext cx="2447925" cy="701184"/>
              </a:xfrm>
              <a:prstGeom prst="rect">
                <a:avLst/>
              </a:prstGeom>
            </p:spPr>
          </p:pic>
          <p:sp>
            <p:nvSpPr>
              <p:cNvPr id="110" name="Прямоугольник 21">
                <a:extLst>
                  <a:ext uri="{FF2B5EF4-FFF2-40B4-BE49-F238E27FC236}">
                    <a16:creationId xmlns:a16="http://schemas.microsoft.com/office/drawing/2014/main" xmlns="" id="{6BAE8EBA-6E71-4002-910F-C5DE9C556B94}"/>
                  </a:ext>
                </a:extLst>
              </p:cNvPr>
              <p:cNvSpPr/>
              <p:nvPr/>
            </p:nvSpPr>
            <p:spPr>
              <a:xfrm>
                <a:off x="4656000" y="2049185"/>
                <a:ext cx="2068650" cy="684000"/>
              </a:xfrm>
              <a:prstGeom prst="rect">
                <a:avLst/>
              </a:prstGeom>
              <a:solidFill>
                <a:srgbClr val="465267"/>
              </a:solidFill>
              <a:scene3d>
                <a:camera prst="orthographicFront"/>
                <a:lightRig rig="flat" dir="t"/>
              </a:scene3d>
              <a:sp3d prstMaterial="dkEdge"/>
            </p:spPr>
            <p:style>
              <a:lnRef idx="0">
                <a:schemeClr val="lt2">
                  <a:hueOff val="0"/>
                  <a:satOff val="0"/>
                  <a:lumOff val="0"/>
                  <a:alphaOff val="0"/>
                </a:schemeClr>
              </a:lnRef>
              <a:fillRef idx="2">
                <a:schemeClr val="dk2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dk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/>
              </a:fontRef>
            </p:style>
            <p:txBody>
              <a:bodyPr spcFirstLastPara="0" vert="horz" wrap="square" lIns="720000" tIns="5080" rIns="5080" bIns="5080" numCol="1" spcCol="1270" rtlCol="0" anchor="ctr" anchorCtr="0">
                <a:noAutofit/>
              </a:bodyPr>
              <a:lstStyle/>
              <a:p>
                <a:pPr marL="0" lvl="0" indent="0" defTabSz="35560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ru-RU" sz="800" kern="1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15" name="Прямоугольник 114">
              <a:extLst>
                <a:ext uri="{FF2B5EF4-FFF2-40B4-BE49-F238E27FC236}">
                  <a16:creationId xmlns:a16="http://schemas.microsoft.com/office/drawing/2014/main" xmlns="" id="{97D2C9B1-EA87-4C3D-8FCE-4AFF65790579}"/>
                </a:ext>
              </a:extLst>
            </p:cNvPr>
            <p:cNvSpPr/>
            <p:nvPr/>
          </p:nvSpPr>
          <p:spPr>
            <a:xfrm>
              <a:off x="2736294" y="1377465"/>
              <a:ext cx="189946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200" cap="all" dirty="0" smtClean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экология</a:t>
              </a:r>
              <a:endParaRPr lang="ru-RU" sz="1200" cap="all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127" name="Группа 126"/>
          <p:cNvGrpSpPr/>
          <p:nvPr/>
        </p:nvGrpSpPr>
        <p:grpSpPr>
          <a:xfrm>
            <a:off x="4888653" y="5024953"/>
            <a:ext cx="2447925" cy="884581"/>
            <a:chOff x="4924744" y="1222974"/>
            <a:chExt cx="2447925" cy="884581"/>
          </a:xfrm>
        </p:grpSpPr>
        <p:grpSp>
          <p:nvGrpSpPr>
            <p:cNvPr id="111" name="Группа 28" descr="Профиль верхнего уровня с фотографией">
              <a:extLst>
                <a:ext uri="{FF2B5EF4-FFF2-40B4-BE49-F238E27FC236}">
                  <a16:creationId xmlns:a16="http://schemas.microsoft.com/office/drawing/2014/main" xmlns="" id="{DAD64F8A-B9B0-4F17-B5F5-AA8BEEA04B5A}"/>
                </a:ext>
              </a:extLst>
            </p:cNvPr>
            <p:cNvGrpSpPr/>
            <p:nvPr/>
          </p:nvGrpSpPr>
          <p:grpSpPr>
            <a:xfrm>
              <a:off x="4924744" y="1222974"/>
              <a:ext cx="2447925" cy="884581"/>
              <a:chOff x="4505324" y="2049185"/>
              <a:chExt cx="2447925" cy="979785"/>
            </a:xfrm>
          </p:grpSpPr>
          <p:pic>
            <p:nvPicPr>
              <p:cNvPr id="112" name="Рисунок 111" descr="Тень">
                <a:extLst>
                  <a:ext uri="{FF2B5EF4-FFF2-40B4-BE49-F238E27FC236}">
                    <a16:creationId xmlns:a16="http://schemas.microsoft.com/office/drawing/2014/main" xmlns="" id="{5C36AA9E-30A2-465F-A3A0-8C8C7BD5AD8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l="10267" t="62187" r="9778" b="8282"/>
              <a:stretch/>
            </p:blipFill>
            <p:spPr>
              <a:xfrm>
                <a:off x="4505324" y="2327786"/>
                <a:ext cx="2447925" cy="701184"/>
              </a:xfrm>
              <a:prstGeom prst="rect">
                <a:avLst/>
              </a:prstGeom>
            </p:spPr>
          </p:pic>
          <p:sp>
            <p:nvSpPr>
              <p:cNvPr id="113" name="Прямоугольник 21">
                <a:extLst>
                  <a:ext uri="{FF2B5EF4-FFF2-40B4-BE49-F238E27FC236}">
                    <a16:creationId xmlns:a16="http://schemas.microsoft.com/office/drawing/2014/main" xmlns="" id="{3025DCC9-1ECC-4CAE-BC3E-7C73E698AEEA}"/>
                  </a:ext>
                </a:extLst>
              </p:cNvPr>
              <p:cNvSpPr/>
              <p:nvPr/>
            </p:nvSpPr>
            <p:spPr>
              <a:xfrm>
                <a:off x="4656000" y="2049185"/>
                <a:ext cx="2068650" cy="684000"/>
              </a:xfrm>
              <a:prstGeom prst="rect">
                <a:avLst/>
              </a:prstGeom>
              <a:solidFill>
                <a:srgbClr val="465267"/>
              </a:solidFill>
              <a:scene3d>
                <a:camera prst="orthographicFront"/>
                <a:lightRig rig="flat" dir="t"/>
              </a:scene3d>
              <a:sp3d prstMaterial="dkEdge"/>
            </p:spPr>
            <p:style>
              <a:lnRef idx="0">
                <a:schemeClr val="lt2">
                  <a:hueOff val="0"/>
                  <a:satOff val="0"/>
                  <a:lumOff val="0"/>
                  <a:alphaOff val="0"/>
                </a:schemeClr>
              </a:lnRef>
              <a:fillRef idx="2">
                <a:schemeClr val="dk2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dk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/>
              </a:fontRef>
            </p:style>
            <p:txBody>
              <a:bodyPr spcFirstLastPara="0" vert="horz" wrap="square" lIns="720000" tIns="5080" rIns="5080" bIns="5080" numCol="1" spcCol="1270" rtlCol="0" anchor="ctr" anchorCtr="0">
                <a:noAutofit/>
              </a:bodyPr>
              <a:lstStyle/>
              <a:p>
                <a:pPr marL="0" lvl="0" indent="0" defTabSz="35560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ru-RU" sz="800" kern="1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16" name="Прямоугольник 115">
              <a:extLst>
                <a:ext uri="{FF2B5EF4-FFF2-40B4-BE49-F238E27FC236}">
                  <a16:creationId xmlns:a16="http://schemas.microsoft.com/office/drawing/2014/main" xmlns="" id="{AC708612-E0A1-4B38-B885-CD6020689738}"/>
                </a:ext>
              </a:extLst>
            </p:cNvPr>
            <p:cNvSpPr/>
            <p:nvPr/>
          </p:nvSpPr>
          <p:spPr>
            <a:xfrm>
              <a:off x="5011747" y="1295576"/>
              <a:ext cx="214140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200" cap="all" dirty="0" smtClean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Безопасность граждан</a:t>
              </a:r>
              <a:endParaRPr lang="ru-RU" sz="1200" cap="all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128" name="Группа 127"/>
          <p:cNvGrpSpPr/>
          <p:nvPr/>
        </p:nvGrpSpPr>
        <p:grpSpPr>
          <a:xfrm>
            <a:off x="7748214" y="3666197"/>
            <a:ext cx="2447925" cy="884581"/>
            <a:chOff x="7315079" y="1247849"/>
            <a:chExt cx="2447925" cy="884581"/>
          </a:xfrm>
        </p:grpSpPr>
        <p:grpSp>
          <p:nvGrpSpPr>
            <p:cNvPr id="117" name="Группа 3" descr="Профиль верхнего уровня с фотографией">
              <a:extLst>
                <a:ext uri="{FF2B5EF4-FFF2-40B4-BE49-F238E27FC236}">
                  <a16:creationId xmlns:a16="http://schemas.microsoft.com/office/drawing/2014/main" xmlns="" id="{698451B1-6B2D-4AE4-B51C-8D10BAA9A5A9}"/>
                </a:ext>
              </a:extLst>
            </p:cNvPr>
            <p:cNvGrpSpPr/>
            <p:nvPr/>
          </p:nvGrpSpPr>
          <p:grpSpPr>
            <a:xfrm>
              <a:off x="7315079" y="1247849"/>
              <a:ext cx="2447925" cy="884581"/>
              <a:chOff x="4505324" y="2049185"/>
              <a:chExt cx="2447925" cy="979785"/>
            </a:xfrm>
          </p:grpSpPr>
          <p:pic>
            <p:nvPicPr>
              <p:cNvPr id="118" name="Рисунок 117" descr="Тень">
                <a:extLst>
                  <a:ext uri="{FF2B5EF4-FFF2-40B4-BE49-F238E27FC236}">
                    <a16:creationId xmlns:a16="http://schemas.microsoft.com/office/drawing/2014/main" xmlns="" id="{F245D002-0E2F-47AB-A3FE-858C55C5106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l="10267" t="62187" r="9778" b="8282"/>
              <a:stretch/>
            </p:blipFill>
            <p:spPr>
              <a:xfrm>
                <a:off x="4505324" y="2327786"/>
                <a:ext cx="2447925" cy="701184"/>
              </a:xfrm>
              <a:prstGeom prst="rect">
                <a:avLst/>
              </a:prstGeom>
            </p:spPr>
          </p:pic>
          <p:sp>
            <p:nvSpPr>
              <p:cNvPr id="119" name="Прямоугольник 21">
                <a:extLst>
                  <a:ext uri="{FF2B5EF4-FFF2-40B4-BE49-F238E27FC236}">
                    <a16:creationId xmlns:a16="http://schemas.microsoft.com/office/drawing/2014/main" xmlns="" id="{C0F155BC-DD9C-4143-BA7B-A806DC1690A0}"/>
                  </a:ext>
                </a:extLst>
              </p:cNvPr>
              <p:cNvSpPr/>
              <p:nvPr/>
            </p:nvSpPr>
            <p:spPr>
              <a:xfrm>
                <a:off x="4656000" y="2049185"/>
                <a:ext cx="2068650" cy="684000"/>
              </a:xfrm>
              <a:prstGeom prst="rect">
                <a:avLst/>
              </a:prstGeom>
              <a:solidFill>
                <a:srgbClr val="465267"/>
              </a:solidFill>
              <a:scene3d>
                <a:camera prst="orthographicFront"/>
                <a:lightRig rig="flat" dir="t"/>
              </a:scene3d>
              <a:sp3d prstMaterial="dkEdge"/>
            </p:spPr>
            <p:style>
              <a:lnRef idx="0">
                <a:schemeClr val="lt2">
                  <a:hueOff val="0"/>
                  <a:satOff val="0"/>
                  <a:lumOff val="0"/>
                  <a:alphaOff val="0"/>
                </a:schemeClr>
              </a:lnRef>
              <a:fillRef idx="2">
                <a:schemeClr val="dk2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dk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/>
              </a:fontRef>
            </p:style>
            <p:txBody>
              <a:bodyPr spcFirstLastPara="0" vert="horz" wrap="square" lIns="720000" tIns="5080" rIns="5080" bIns="5080" numCol="1" spcCol="1270" rtlCol="0" anchor="ctr" anchorCtr="0">
                <a:noAutofit/>
              </a:bodyPr>
              <a:lstStyle/>
              <a:p>
                <a:pPr marL="0" lvl="0" indent="0" defTabSz="35560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ru-RU" sz="800" kern="1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20" name="Прямоугольник 119">
              <a:extLst>
                <a:ext uri="{FF2B5EF4-FFF2-40B4-BE49-F238E27FC236}">
                  <a16:creationId xmlns:a16="http://schemas.microsoft.com/office/drawing/2014/main" xmlns="" id="{48684459-4DA0-4663-B416-791A22BA701D}"/>
                </a:ext>
              </a:extLst>
            </p:cNvPr>
            <p:cNvSpPr/>
            <p:nvPr/>
          </p:nvSpPr>
          <p:spPr>
            <a:xfrm>
              <a:off x="7549867" y="1316946"/>
              <a:ext cx="189946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200" cap="all" dirty="0" smtClean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Устойчивое развитие</a:t>
              </a:r>
              <a:endParaRPr lang="ru-RU" sz="1200" cap="all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9744075" y="2304252"/>
            <a:ext cx="2447925" cy="897374"/>
            <a:chOff x="9744075" y="1221410"/>
            <a:chExt cx="2447925" cy="897374"/>
          </a:xfrm>
        </p:grpSpPr>
        <p:grpSp>
          <p:nvGrpSpPr>
            <p:cNvPr id="121" name="Группа 3" descr="Профиль верхнего уровня с фотографией">
              <a:extLst>
                <a:ext uri="{FF2B5EF4-FFF2-40B4-BE49-F238E27FC236}">
                  <a16:creationId xmlns:a16="http://schemas.microsoft.com/office/drawing/2014/main" xmlns="" id="{698451B1-6B2D-4AE4-B51C-8D10BAA9A5A9}"/>
                </a:ext>
              </a:extLst>
            </p:cNvPr>
            <p:cNvGrpSpPr/>
            <p:nvPr/>
          </p:nvGrpSpPr>
          <p:grpSpPr>
            <a:xfrm>
              <a:off x="9744075" y="1234203"/>
              <a:ext cx="2447925" cy="884581"/>
              <a:chOff x="4505324" y="2049185"/>
              <a:chExt cx="2447925" cy="979785"/>
            </a:xfrm>
          </p:grpSpPr>
          <p:pic>
            <p:nvPicPr>
              <p:cNvPr id="122" name="Рисунок 121" descr="Тень">
                <a:extLst>
                  <a:ext uri="{FF2B5EF4-FFF2-40B4-BE49-F238E27FC236}">
                    <a16:creationId xmlns:a16="http://schemas.microsoft.com/office/drawing/2014/main" xmlns="" id="{F245D002-0E2F-47AB-A3FE-858C55C5106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l="10267" t="62187" r="9778" b="8282"/>
              <a:stretch/>
            </p:blipFill>
            <p:spPr>
              <a:xfrm>
                <a:off x="4505324" y="2327786"/>
                <a:ext cx="2447925" cy="701184"/>
              </a:xfrm>
              <a:prstGeom prst="rect">
                <a:avLst/>
              </a:prstGeom>
            </p:spPr>
          </p:pic>
          <p:sp>
            <p:nvSpPr>
              <p:cNvPr id="123" name="Прямоугольник 21">
                <a:extLst>
                  <a:ext uri="{FF2B5EF4-FFF2-40B4-BE49-F238E27FC236}">
                    <a16:creationId xmlns:a16="http://schemas.microsoft.com/office/drawing/2014/main" xmlns="" id="{C0F155BC-DD9C-4143-BA7B-A806DC1690A0}"/>
                  </a:ext>
                </a:extLst>
              </p:cNvPr>
              <p:cNvSpPr/>
              <p:nvPr/>
            </p:nvSpPr>
            <p:spPr>
              <a:xfrm>
                <a:off x="4656000" y="2049185"/>
                <a:ext cx="2068650" cy="684000"/>
              </a:xfrm>
              <a:prstGeom prst="rect">
                <a:avLst/>
              </a:prstGeom>
              <a:solidFill>
                <a:srgbClr val="465267"/>
              </a:solidFill>
              <a:scene3d>
                <a:camera prst="orthographicFront"/>
                <a:lightRig rig="flat" dir="t"/>
              </a:scene3d>
              <a:sp3d prstMaterial="dkEdge"/>
            </p:spPr>
            <p:style>
              <a:lnRef idx="0">
                <a:schemeClr val="lt2">
                  <a:hueOff val="0"/>
                  <a:satOff val="0"/>
                  <a:lumOff val="0"/>
                  <a:alphaOff val="0"/>
                </a:schemeClr>
              </a:lnRef>
              <a:fillRef idx="2">
                <a:schemeClr val="dk2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dk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/>
              </a:fontRef>
            </p:style>
            <p:txBody>
              <a:bodyPr spcFirstLastPara="0" vert="horz" wrap="square" lIns="720000" tIns="5080" rIns="5080" bIns="5080" numCol="1" spcCol="1270" rtlCol="0" anchor="ctr" anchorCtr="0">
                <a:noAutofit/>
              </a:bodyPr>
              <a:lstStyle/>
              <a:p>
                <a:pPr marL="0" lvl="0" indent="0" defTabSz="35560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ru-RU" sz="800" kern="1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24" name="Прямоугольник 123">
              <a:extLst>
                <a:ext uri="{FF2B5EF4-FFF2-40B4-BE49-F238E27FC236}">
                  <a16:creationId xmlns:a16="http://schemas.microsoft.com/office/drawing/2014/main" xmlns="" id="{48684459-4DA0-4663-B416-791A22BA701D}"/>
                </a:ext>
              </a:extLst>
            </p:cNvPr>
            <p:cNvSpPr/>
            <p:nvPr/>
          </p:nvSpPr>
          <p:spPr>
            <a:xfrm>
              <a:off x="9951873" y="1221410"/>
              <a:ext cx="1899461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200" cap="all" dirty="0" smtClean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Промышленная и пожарная безопасность</a:t>
              </a:r>
              <a:endParaRPr lang="ru-RU" sz="1200" cap="all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137" name="TextBox 136"/>
          <p:cNvSpPr txBox="1"/>
          <p:nvPr/>
        </p:nvSpPr>
        <p:spPr>
          <a:xfrm>
            <a:off x="5245769" y="2081464"/>
            <a:ext cx="16242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b="1" dirty="0" smtClean="0">
                <a:solidFill>
                  <a:schemeClr val="accent5">
                    <a:lumMod val="75000"/>
                  </a:schemeClr>
                </a:solidFill>
              </a:rPr>
              <a:t>ЦБТ</a:t>
            </a:r>
            <a:endParaRPr lang="ru-RU" sz="60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cxnSp>
        <p:nvCxnSpPr>
          <p:cNvPr id="139" name="Прямая со стрелкой 138"/>
          <p:cNvCxnSpPr/>
          <p:nvPr/>
        </p:nvCxnSpPr>
        <p:spPr>
          <a:xfrm flipH="1">
            <a:off x="2442411" y="2606467"/>
            <a:ext cx="2685066" cy="4386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Прямая со стрелкой 142"/>
          <p:cNvCxnSpPr/>
          <p:nvPr/>
        </p:nvCxnSpPr>
        <p:spPr>
          <a:xfrm flipH="1">
            <a:off x="4138863" y="3080084"/>
            <a:ext cx="1239252" cy="613611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Прямая со стрелкой 147"/>
          <p:cNvCxnSpPr>
            <a:stCxn id="137" idx="2"/>
            <a:endCxn id="113" idx="0"/>
          </p:cNvCxnSpPr>
          <p:nvPr/>
        </p:nvCxnSpPr>
        <p:spPr>
          <a:xfrm>
            <a:off x="6057901" y="3097127"/>
            <a:ext cx="15753" cy="1927826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Прямая со стрелкой 149"/>
          <p:cNvCxnSpPr/>
          <p:nvPr/>
        </p:nvCxnSpPr>
        <p:spPr>
          <a:xfrm>
            <a:off x="6725653" y="3056021"/>
            <a:ext cx="1179094" cy="613611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Прямая со стрелкой 151"/>
          <p:cNvCxnSpPr>
            <a:stCxn id="137" idx="3"/>
          </p:cNvCxnSpPr>
          <p:nvPr/>
        </p:nvCxnSpPr>
        <p:spPr>
          <a:xfrm>
            <a:off x="6870033" y="2589296"/>
            <a:ext cx="2959767" cy="9525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47024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:a16="http://schemas.microsoft.com/office/drawing/2014/main" xmlns="" id="{FE891A01-1469-D41F-830F-28E6FB70C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837" y="365126"/>
            <a:ext cx="8651889" cy="730418"/>
          </a:xfrm>
        </p:spPr>
        <p:txBody>
          <a:bodyPr>
            <a:normAutofit fontScale="90000"/>
          </a:bodyPr>
          <a:lstStyle/>
          <a:p>
            <a:r>
              <a:rPr lang="ru-RU" dirty="0"/>
              <a:t>/ </a:t>
            </a:r>
            <a:r>
              <a:rPr lang="ru-RU" dirty="0" smtClean="0"/>
              <a:t>НОРМАТИВНОЕ ОБЕСПЕЧЕНИЕ СУОТ В ОАО «РЖД»</a:t>
            </a:r>
            <a:endParaRPr lang="ru-RU" dirty="0"/>
          </a:p>
        </p:txBody>
      </p:sp>
      <p:grpSp>
        <p:nvGrpSpPr>
          <p:cNvPr id="2" name="Группа 2"/>
          <p:cNvGrpSpPr/>
          <p:nvPr/>
        </p:nvGrpSpPr>
        <p:grpSpPr>
          <a:xfrm>
            <a:off x="0" y="1397523"/>
            <a:ext cx="12192000" cy="4702806"/>
            <a:chOff x="0" y="823912"/>
            <a:chExt cx="12192000" cy="4702806"/>
          </a:xfrm>
        </p:grpSpPr>
        <p:pic>
          <p:nvPicPr>
            <p:cNvPr id="4" name="Рисунок 3">
              <a:extLst>
                <a:ext uri="{FF2B5EF4-FFF2-40B4-BE49-F238E27FC236}">
                  <a16:creationId xmlns="" xmlns:a16="http://schemas.microsoft.com/office/drawing/2014/main" id="{F8D4BF47-3A36-4A63-8201-4FEA1C4265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t="35793" b="30533"/>
            <a:stretch/>
          </p:blipFill>
          <p:spPr>
            <a:xfrm>
              <a:off x="7512053" y="830369"/>
              <a:ext cx="4678958" cy="1035345"/>
            </a:xfrm>
            <a:prstGeom prst="rect">
              <a:avLst/>
            </a:prstGeom>
          </p:spPr>
        </p:pic>
        <p:sp>
          <p:nvSpPr>
            <p:cNvPr id="5" name="Прямоугольник 4">
              <a:extLst>
                <a:ext uri="{FF2B5EF4-FFF2-40B4-BE49-F238E27FC236}">
                  <a16:creationId xmlns="" xmlns:a16="http://schemas.microsoft.com/office/drawing/2014/main" id="{84D160CA-F43A-40ED-85B6-56C522235DDC}"/>
                </a:ext>
              </a:extLst>
            </p:cNvPr>
            <p:cNvSpPr/>
            <p:nvPr/>
          </p:nvSpPr>
          <p:spPr>
            <a:xfrm>
              <a:off x="989" y="1849165"/>
              <a:ext cx="12191010" cy="768293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6" name="Прямая соединительная линия 5">
              <a:extLst>
                <a:ext uri="{FF2B5EF4-FFF2-40B4-BE49-F238E27FC236}">
                  <a16:creationId xmlns="" xmlns:a16="http://schemas.microsoft.com/office/drawing/2014/main" id="{98B15CB0-FC44-482A-B5BB-4EC140DCB79C}"/>
                </a:ext>
              </a:extLst>
            </p:cNvPr>
            <p:cNvCxnSpPr/>
            <p:nvPr/>
          </p:nvCxnSpPr>
          <p:spPr>
            <a:xfrm>
              <a:off x="0" y="2596257"/>
              <a:ext cx="12192000" cy="0"/>
            </a:xfrm>
            <a:prstGeom prst="line">
              <a:avLst/>
            </a:prstGeom>
            <a:ln>
              <a:solidFill>
                <a:srgbClr val="46526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Прямая соединительная линия 6">
              <a:extLst>
                <a:ext uri="{FF2B5EF4-FFF2-40B4-BE49-F238E27FC236}">
                  <a16:creationId xmlns="" xmlns:a16="http://schemas.microsoft.com/office/drawing/2014/main" id="{C27036E7-C532-4C35-A46B-30915EECDC26}"/>
                </a:ext>
              </a:extLst>
            </p:cNvPr>
            <p:cNvCxnSpPr>
              <a:cxnSpLocks/>
            </p:cNvCxnSpPr>
            <p:nvPr/>
          </p:nvCxnSpPr>
          <p:spPr>
            <a:xfrm>
              <a:off x="849086" y="2608128"/>
              <a:ext cx="7071" cy="2733986"/>
            </a:xfrm>
            <a:prstGeom prst="line">
              <a:avLst/>
            </a:prstGeom>
            <a:ln>
              <a:solidFill>
                <a:srgbClr val="46526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Прямоугольник 7">
              <a:extLst>
                <a:ext uri="{FF2B5EF4-FFF2-40B4-BE49-F238E27FC236}">
                  <a16:creationId xmlns="" xmlns:a16="http://schemas.microsoft.com/office/drawing/2014/main" id="{E5943064-8DE0-4346-B6E6-1903D0472370}"/>
                </a:ext>
              </a:extLst>
            </p:cNvPr>
            <p:cNvSpPr/>
            <p:nvPr/>
          </p:nvSpPr>
          <p:spPr>
            <a:xfrm>
              <a:off x="1167196" y="2798955"/>
              <a:ext cx="2180494" cy="6565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100"/>
                </a:lnSpc>
                <a:spcBef>
                  <a:spcPts val="0"/>
                </a:spcBef>
                <a:defRPr/>
              </a:pPr>
              <a:r>
                <a:rPr lang="ru-RU" sz="1000" b="1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СТО РЖД </a:t>
              </a:r>
              <a:r>
                <a:rPr lang="ru-RU" sz="1000" b="1" dirty="0" smtClean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5.001-2023 </a:t>
              </a:r>
              <a:endParaRPr lang="ru-RU" sz="1000" b="1" dirty="0">
                <a:solidFill>
                  <a:srgbClr val="313A49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  <a:p>
              <a:pPr>
                <a:lnSpc>
                  <a:spcPts val="1100"/>
                </a:lnSpc>
                <a:spcBef>
                  <a:spcPts val="0"/>
                </a:spcBef>
                <a:defRPr/>
              </a:pPr>
              <a: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«Система управления охраной труда в ОАО «РЖД». Общие положения»</a:t>
              </a:r>
            </a:p>
          </p:txBody>
        </p:sp>
        <p:grpSp>
          <p:nvGrpSpPr>
            <p:cNvPr id="3" name="Группа 8">
              <a:extLst>
                <a:ext uri="{FF2B5EF4-FFF2-40B4-BE49-F238E27FC236}">
                  <a16:creationId xmlns="" xmlns:a16="http://schemas.microsoft.com/office/drawing/2014/main" id="{8AC0A429-BEE6-4949-9E32-EE0D4CD55F5F}"/>
                </a:ext>
              </a:extLst>
            </p:cNvPr>
            <p:cNvGrpSpPr/>
            <p:nvPr/>
          </p:nvGrpSpPr>
          <p:grpSpPr>
            <a:xfrm>
              <a:off x="611665" y="2961239"/>
              <a:ext cx="488857" cy="284218"/>
              <a:chOff x="611665" y="2702159"/>
              <a:chExt cx="488857" cy="284218"/>
            </a:xfrm>
          </p:grpSpPr>
          <p:sp>
            <p:nvSpPr>
              <p:cNvPr id="65" name="Овал 7">
                <a:extLst>
                  <a:ext uri="{FF2B5EF4-FFF2-40B4-BE49-F238E27FC236}">
                    <a16:creationId xmlns="" xmlns:a16="http://schemas.microsoft.com/office/drawing/2014/main" id="{4430A14A-6B9D-42ED-A34B-B6ABB5080EC0}"/>
                  </a:ext>
                </a:extLst>
              </p:cNvPr>
              <p:cNvSpPr/>
              <p:nvPr/>
            </p:nvSpPr>
            <p:spPr>
              <a:xfrm>
                <a:off x="714049" y="2702159"/>
                <a:ext cx="284218" cy="284218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rgbClr val="4652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6" name="Прямоугольник 11">
                <a:extLst>
                  <a:ext uri="{FF2B5EF4-FFF2-40B4-BE49-F238E27FC236}">
                    <a16:creationId xmlns="" xmlns:a16="http://schemas.microsoft.com/office/drawing/2014/main" id="{79C29BD2-7AC1-4920-8197-3CD1EF840A25}"/>
                  </a:ext>
                </a:extLst>
              </p:cNvPr>
              <p:cNvSpPr/>
              <p:nvPr/>
            </p:nvSpPr>
            <p:spPr>
              <a:xfrm>
                <a:off x="611665" y="2709378"/>
                <a:ext cx="488857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ru-RU" sz="12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1</a:t>
                </a:r>
                <a:endParaRPr lang="ru-RU" altLang="ru-RU" sz="1200" b="1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9" name="Группа 12">
              <a:extLst>
                <a:ext uri="{FF2B5EF4-FFF2-40B4-BE49-F238E27FC236}">
                  <a16:creationId xmlns="" xmlns:a16="http://schemas.microsoft.com/office/drawing/2014/main" id="{1FADB317-12FB-4E4F-9762-B9C73EC1C8B1}"/>
                </a:ext>
              </a:extLst>
            </p:cNvPr>
            <p:cNvGrpSpPr/>
            <p:nvPr/>
          </p:nvGrpSpPr>
          <p:grpSpPr>
            <a:xfrm>
              <a:off x="611729" y="4005958"/>
              <a:ext cx="488857" cy="284218"/>
              <a:chOff x="611665" y="2702159"/>
              <a:chExt cx="488857" cy="284218"/>
            </a:xfrm>
          </p:grpSpPr>
          <p:sp>
            <p:nvSpPr>
              <p:cNvPr id="63" name="Овал 13">
                <a:extLst>
                  <a:ext uri="{FF2B5EF4-FFF2-40B4-BE49-F238E27FC236}">
                    <a16:creationId xmlns="" xmlns:a16="http://schemas.microsoft.com/office/drawing/2014/main" id="{3F381F4C-7371-4F06-B147-1A4DD29CDFD4}"/>
                  </a:ext>
                </a:extLst>
              </p:cNvPr>
              <p:cNvSpPr/>
              <p:nvPr/>
            </p:nvSpPr>
            <p:spPr>
              <a:xfrm>
                <a:off x="714049" y="2702159"/>
                <a:ext cx="284218" cy="284218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rgbClr val="4652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4" name="Прямоугольник 63">
                <a:extLst>
                  <a:ext uri="{FF2B5EF4-FFF2-40B4-BE49-F238E27FC236}">
                    <a16:creationId xmlns="" xmlns:a16="http://schemas.microsoft.com/office/drawing/2014/main" id="{DBA48198-1812-4755-A4F1-C1BB17292EF7}"/>
                  </a:ext>
                </a:extLst>
              </p:cNvPr>
              <p:cNvSpPr/>
              <p:nvPr/>
            </p:nvSpPr>
            <p:spPr>
              <a:xfrm>
                <a:off x="611665" y="2709378"/>
                <a:ext cx="488857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ru-RU" sz="12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2</a:t>
                </a:r>
                <a:endParaRPr lang="ru-RU" altLang="ru-RU" sz="1200" b="1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</p:grpSp>
        <p:grpSp>
          <p:nvGrpSpPr>
            <p:cNvPr id="10" name="Группа 15">
              <a:extLst>
                <a:ext uri="{FF2B5EF4-FFF2-40B4-BE49-F238E27FC236}">
                  <a16:creationId xmlns="" xmlns:a16="http://schemas.microsoft.com/office/drawing/2014/main" id="{D809999F-0E2F-4322-A0E6-FE1445599C61}"/>
                </a:ext>
              </a:extLst>
            </p:cNvPr>
            <p:cNvGrpSpPr/>
            <p:nvPr/>
          </p:nvGrpSpPr>
          <p:grpSpPr>
            <a:xfrm>
              <a:off x="611664" y="5057896"/>
              <a:ext cx="488857" cy="284218"/>
              <a:chOff x="611665" y="2702159"/>
              <a:chExt cx="488857" cy="284218"/>
            </a:xfrm>
          </p:grpSpPr>
          <p:sp>
            <p:nvSpPr>
              <p:cNvPr id="61" name="Овал 16">
                <a:extLst>
                  <a:ext uri="{FF2B5EF4-FFF2-40B4-BE49-F238E27FC236}">
                    <a16:creationId xmlns="" xmlns:a16="http://schemas.microsoft.com/office/drawing/2014/main" id="{9F45A1A0-CBA4-48C2-B99B-42255400E56D}"/>
                  </a:ext>
                </a:extLst>
              </p:cNvPr>
              <p:cNvSpPr/>
              <p:nvPr/>
            </p:nvSpPr>
            <p:spPr>
              <a:xfrm>
                <a:off x="714049" y="2702159"/>
                <a:ext cx="284218" cy="284218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rgbClr val="4652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2" name="Прямоугольник 61">
                <a:extLst>
                  <a:ext uri="{FF2B5EF4-FFF2-40B4-BE49-F238E27FC236}">
                    <a16:creationId xmlns="" xmlns:a16="http://schemas.microsoft.com/office/drawing/2014/main" id="{8FDE020C-6CE8-46C3-958B-A1FFB15C6BD4}"/>
                  </a:ext>
                </a:extLst>
              </p:cNvPr>
              <p:cNvSpPr/>
              <p:nvPr/>
            </p:nvSpPr>
            <p:spPr>
              <a:xfrm>
                <a:off x="611665" y="2709378"/>
                <a:ext cx="488857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ru-RU" sz="12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3</a:t>
                </a:r>
                <a:endParaRPr lang="ru-RU" altLang="ru-RU" sz="1200" b="1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</p:grpSp>
        <p:sp>
          <p:nvSpPr>
            <p:cNvPr id="12" name="Прямоугольник 11">
              <a:extLst>
                <a:ext uri="{FF2B5EF4-FFF2-40B4-BE49-F238E27FC236}">
                  <a16:creationId xmlns="" xmlns:a16="http://schemas.microsoft.com/office/drawing/2014/main" id="{897C5DFA-8988-4492-BE69-35D71B37087F}"/>
                </a:ext>
              </a:extLst>
            </p:cNvPr>
            <p:cNvSpPr/>
            <p:nvPr/>
          </p:nvSpPr>
          <p:spPr>
            <a:xfrm>
              <a:off x="9634921" y="2769730"/>
              <a:ext cx="2180494" cy="7335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950"/>
                </a:lnSpc>
                <a:defRPr/>
              </a:pPr>
              <a:r>
                <a:rPr lang="ru-RU" sz="1000" b="1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СТО РЖД 15.003-2014</a:t>
              </a:r>
              <a: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/>
              </a:r>
              <a:b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</a:br>
              <a: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«Производственный </a:t>
              </a:r>
              <a:b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</a:br>
              <a: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контроль условий труда</a:t>
              </a:r>
            </a:p>
            <a:p>
              <a:pPr>
                <a:lnSpc>
                  <a:spcPts val="950"/>
                </a:lnSpc>
                <a:defRPr/>
              </a:pPr>
              <a: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в ОАО «РЖД». </a:t>
              </a:r>
              <a:b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</a:br>
              <a: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Общие положения»</a:t>
              </a: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="" xmlns:a16="http://schemas.microsoft.com/office/drawing/2014/main" id="{CDEE4059-5772-4202-ACBD-3A96DDBA2563}"/>
                </a:ext>
              </a:extLst>
            </p:cNvPr>
            <p:cNvSpPr/>
            <p:nvPr/>
          </p:nvSpPr>
          <p:spPr>
            <a:xfrm>
              <a:off x="1100521" y="4847808"/>
              <a:ext cx="2180494" cy="6052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950"/>
                </a:lnSpc>
                <a:defRPr/>
              </a:pPr>
              <a:r>
                <a:rPr lang="ru-RU" sz="1000" b="1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СТО РЖД </a:t>
              </a:r>
              <a:r>
                <a:rPr lang="ru-RU" sz="1000" b="1" dirty="0" smtClean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5.011-2023</a:t>
              </a:r>
              <a: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/>
              </a:r>
              <a:b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</a:br>
              <a: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«Система управления охраной труда в ОАО «РЖД». </a:t>
              </a:r>
              <a:b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</a:br>
              <a: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Организация обучения» </a:t>
              </a:r>
            </a:p>
          </p:txBody>
        </p:sp>
        <p:grpSp>
          <p:nvGrpSpPr>
            <p:cNvPr id="11" name="Группа 23">
              <a:extLst>
                <a:ext uri="{FF2B5EF4-FFF2-40B4-BE49-F238E27FC236}">
                  <a16:creationId xmlns="" xmlns:a16="http://schemas.microsoft.com/office/drawing/2014/main" id="{0FAB87B6-6D11-4665-B422-91FCE6506A6E}"/>
                </a:ext>
              </a:extLst>
            </p:cNvPr>
            <p:cNvGrpSpPr/>
            <p:nvPr/>
          </p:nvGrpSpPr>
          <p:grpSpPr>
            <a:xfrm>
              <a:off x="3505137" y="2617458"/>
              <a:ext cx="5500159" cy="2909260"/>
              <a:chOff x="611664" y="2358378"/>
              <a:chExt cx="5500159" cy="2909260"/>
            </a:xfrm>
          </p:grpSpPr>
          <p:cxnSp>
            <p:nvCxnSpPr>
              <p:cNvPr id="48" name="Прямая соединительная линия 47">
                <a:extLst>
                  <a:ext uri="{FF2B5EF4-FFF2-40B4-BE49-F238E27FC236}">
                    <a16:creationId xmlns="" xmlns:a16="http://schemas.microsoft.com/office/drawing/2014/main" id="{23CBA3B4-8598-41F1-A84E-BB8040A5F7D4}"/>
                  </a:ext>
                </a:extLst>
              </p:cNvPr>
              <p:cNvCxnSpPr>
                <a:cxnSpLocks/>
                <a:endCxn id="55" idx="4"/>
              </p:cNvCxnSpPr>
              <p:nvPr/>
            </p:nvCxnSpPr>
            <p:spPr>
              <a:xfrm flipH="1">
                <a:off x="856157" y="2358378"/>
                <a:ext cx="1276" cy="2724656"/>
              </a:xfrm>
              <a:prstGeom prst="line">
                <a:avLst/>
              </a:prstGeom>
              <a:ln>
                <a:solidFill>
                  <a:srgbClr val="4652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Прямоугольник 48">
                <a:extLst>
                  <a:ext uri="{FF2B5EF4-FFF2-40B4-BE49-F238E27FC236}">
                    <a16:creationId xmlns="" xmlns:a16="http://schemas.microsoft.com/office/drawing/2014/main" id="{A371758B-E31C-4786-B783-1BF1E31F2973}"/>
                  </a:ext>
                </a:extLst>
              </p:cNvPr>
              <p:cNvSpPr/>
              <p:nvPr/>
            </p:nvSpPr>
            <p:spPr>
              <a:xfrm>
                <a:off x="1167196" y="4482975"/>
                <a:ext cx="2180494" cy="73353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ts val="950"/>
                  </a:lnSpc>
                  <a:defRPr/>
                </a:pPr>
                <a:r>
                  <a:rPr lang="ru-RU" sz="10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СТО РЖД 15.013-2021</a:t>
                </a: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/>
                </a:r>
                <a:b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</a:b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«Система управления охраной труда в ОАО «РЖД». </a:t>
                </a:r>
                <a:b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</a:b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Электрическая безопасность. Общие положения» </a:t>
                </a:r>
              </a:p>
            </p:txBody>
          </p:sp>
          <p:grpSp>
            <p:nvGrpSpPr>
              <p:cNvPr id="15" name="Группа 26">
                <a:extLst>
                  <a:ext uri="{FF2B5EF4-FFF2-40B4-BE49-F238E27FC236}">
                    <a16:creationId xmlns="" xmlns:a16="http://schemas.microsoft.com/office/drawing/2014/main" id="{EF537738-2C8C-4CC2-B36D-A1D3D93697BF}"/>
                  </a:ext>
                </a:extLst>
              </p:cNvPr>
              <p:cNvGrpSpPr/>
              <p:nvPr/>
            </p:nvGrpSpPr>
            <p:grpSpPr>
              <a:xfrm>
                <a:off x="611665" y="2702159"/>
                <a:ext cx="488857" cy="284218"/>
                <a:chOff x="611665" y="2702159"/>
                <a:chExt cx="488857" cy="284218"/>
              </a:xfrm>
            </p:grpSpPr>
            <p:sp>
              <p:nvSpPr>
                <p:cNvPr id="59" name="Овал 35">
                  <a:extLst>
                    <a:ext uri="{FF2B5EF4-FFF2-40B4-BE49-F238E27FC236}">
                      <a16:creationId xmlns="" xmlns:a16="http://schemas.microsoft.com/office/drawing/2014/main" id="{40E545F6-5986-4030-AD3F-1A1F16591E6E}"/>
                    </a:ext>
                  </a:extLst>
                </p:cNvPr>
                <p:cNvSpPr/>
                <p:nvPr/>
              </p:nvSpPr>
              <p:spPr>
                <a:xfrm>
                  <a:off x="714049" y="2702159"/>
                  <a:ext cx="284218" cy="284218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rgbClr val="46526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60" name="Прямоугольник 36">
                  <a:extLst>
                    <a:ext uri="{FF2B5EF4-FFF2-40B4-BE49-F238E27FC236}">
                      <a16:creationId xmlns="" xmlns:a16="http://schemas.microsoft.com/office/drawing/2014/main" id="{C5CC7B30-2638-4514-806D-A45173B63701}"/>
                    </a:ext>
                  </a:extLst>
                </p:cNvPr>
                <p:cNvSpPr/>
                <p:nvPr/>
              </p:nvSpPr>
              <p:spPr>
                <a:xfrm>
                  <a:off x="611665" y="2709378"/>
                  <a:ext cx="488857" cy="27699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ru-RU" sz="1200" b="1" dirty="0">
                      <a:solidFill>
                        <a:srgbClr val="313A49"/>
                      </a:solidFill>
                      <a:latin typeface="Verdana" pitchFamily="34" charset="0"/>
                      <a:ea typeface="Verdana" pitchFamily="34" charset="0"/>
                      <a:cs typeface="Verdana" pitchFamily="34" charset="0"/>
                    </a:rPr>
                    <a:t>4</a:t>
                  </a:r>
                  <a:endParaRPr lang="ru-RU" altLang="ru-RU" sz="12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endParaRPr>
                </a:p>
              </p:txBody>
            </p:sp>
          </p:grpSp>
          <p:grpSp>
            <p:nvGrpSpPr>
              <p:cNvPr id="16" name="Группа 27">
                <a:extLst>
                  <a:ext uri="{FF2B5EF4-FFF2-40B4-BE49-F238E27FC236}">
                    <a16:creationId xmlns="" xmlns:a16="http://schemas.microsoft.com/office/drawing/2014/main" id="{DE26A795-B899-4211-95DB-DD7B2422ED40}"/>
                  </a:ext>
                </a:extLst>
              </p:cNvPr>
              <p:cNvGrpSpPr/>
              <p:nvPr/>
            </p:nvGrpSpPr>
            <p:grpSpPr>
              <a:xfrm>
                <a:off x="611729" y="3746878"/>
                <a:ext cx="488857" cy="284218"/>
                <a:chOff x="611665" y="2702159"/>
                <a:chExt cx="488857" cy="284218"/>
              </a:xfrm>
            </p:grpSpPr>
            <p:sp>
              <p:nvSpPr>
                <p:cNvPr id="57" name="Овал 56">
                  <a:extLst>
                    <a:ext uri="{FF2B5EF4-FFF2-40B4-BE49-F238E27FC236}">
                      <a16:creationId xmlns="" xmlns:a16="http://schemas.microsoft.com/office/drawing/2014/main" id="{E3C4E2A5-335F-4F53-9CAE-C3413CD956C2}"/>
                    </a:ext>
                  </a:extLst>
                </p:cNvPr>
                <p:cNvSpPr/>
                <p:nvPr/>
              </p:nvSpPr>
              <p:spPr>
                <a:xfrm>
                  <a:off x="714049" y="2702159"/>
                  <a:ext cx="284218" cy="284218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rgbClr val="46526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58" name="Прямоугольник 34">
                  <a:extLst>
                    <a:ext uri="{FF2B5EF4-FFF2-40B4-BE49-F238E27FC236}">
                      <a16:creationId xmlns="" xmlns:a16="http://schemas.microsoft.com/office/drawing/2014/main" id="{74F8540A-A3B3-428F-9F0C-9AF0D1F4F497}"/>
                    </a:ext>
                  </a:extLst>
                </p:cNvPr>
                <p:cNvSpPr/>
                <p:nvPr/>
              </p:nvSpPr>
              <p:spPr>
                <a:xfrm>
                  <a:off x="611665" y="2709378"/>
                  <a:ext cx="488857" cy="27699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ru-RU" sz="1200" b="1" dirty="0">
                      <a:solidFill>
                        <a:srgbClr val="313A49"/>
                      </a:solidFill>
                      <a:latin typeface="Verdana" pitchFamily="34" charset="0"/>
                      <a:ea typeface="Verdana" pitchFamily="34" charset="0"/>
                      <a:cs typeface="Verdana" pitchFamily="34" charset="0"/>
                    </a:rPr>
                    <a:t>5</a:t>
                  </a:r>
                  <a:endParaRPr lang="ru-RU" altLang="ru-RU" sz="12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endParaRPr>
                </a:p>
              </p:txBody>
            </p:sp>
          </p:grpSp>
          <p:grpSp>
            <p:nvGrpSpPr>
              <p:cNvPr id="19" name="Группа 28">
                <a:extLst>
                  <a:ext uri="{FF2B5EF4-FFF2-40B4-BE49-F238E27FC236}">
                    <a16:creationId xmlns="" xmlns:a16="http://schemas.microsoft.com/office/drawing/2014/main" id="{7026B9C8-CA43-4154-ADC0-68661D0DFC52}"/>
                  </a:ext>
                </a:extLst>
              </p:cNvPr>
              <p:cNvGrpSpPr/>
              <p:nvPr/>
            </p:nvGrpSpPr>
            <p:grpSpPr>
              <a:xfrm>
                <a:off x="611664" y="4798816"/>
                <a:ext cx="488857" cy="284218"/>
                <a:chOff x="611665" y="2702159"/>
                <a:chExt cx="488857" cy="284218"/>
              </a:xfrm>
            </p:grpSpPr>
            <p:sp>
              <p:nvSpPr>
                <p:cNvPr id="55" name="Овал 54">
                  <a:extLst>
                    <a:ext uri="{FF2B5EF4-FFF2-40B4-BE49-F238E27FC236}">
                      <a16:creationId xmlns="" xmlns:a16="http://schemas.microsoft.com/office/drawing/2014/main" id="{40E783E3-B910-44BE-84C1-8C2328A25190}"/>
                    </a:ext>
                  </a:extLst>
                </p:cNvPr>
                <p:cNvSpPr/>
                <p:nvPr/>
              </p:nvSpPr>
              <p:spPr>
                <a:xfrm>
                  <a:off x="714049" y="2702159"/>
                  <a:ext cx="284218" cy="284218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rgbClr val="46526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56" name="Прямоугольник 55">
                  <a:extLst>
                    <a:ext uri="{FF2B5EF4-FFF2-40B4-BE49-F238E27FC236}">
                      <a16:creationId xmlns="" xmlns:a16="http://schemas.microsoft.com/office/drawing/2014/main" id="{837C81FE-7A15-4136-B159-32F8CE984F9B}"/>
                    </a:ext>
                  </a:extLst>
                </p:cNvPr>
                <p:cNvSpPr/>
                <p:nvPr/>
              </p:nvSpPr>
              <p:spPr>
                <a:xfrm>
                  <a:off x="611665" y="2709378"/>
                  <a:ext cx="488857" cy="27699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ru-RU" sz="1200" b="1" dirty="0">
                      <a:solidFill>
                        <a:srgbClr val="313A49"/>
                      </a:solidFill>
                      <a:latin typeface="Verdana" pitchFamily="34" charset="0"/>
                      <a:ea typeface="Verdana" pitchFamily="34" charset="0"/>
                      <a:cs typeface="Verdana" pitchFamily="34" charset="0"/>
                    </a:rPr>
                    <a:t>6</a:t>
                  </a:r>
                  <a:endParaRPr lang="ru-RU" altLang="ru-RU" sz="12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endParaRPr>
                </a:p>
              </p:txBody>
            </p:sp>
          </p:grpSp>
          <p:sp>
            <p:nvSpPr>
              <p:cNvPr id="53" name="Прямоугольник 52">
                <a:extLst>
                  <a:ext uri="{FF2B5EF4-FFF2-40B4-BE49-F238E27FC236}">
                    <a16:creationId xmlns="" xmlns:a16="http://schemas.microsoft.com/office/drawing/2014/main" id="{E8358F6C-C10D-4C27-BB67-845EBBB26535}"/>
                  </a:ext>
                </a:extLst>
              </p:cNvPr>
              <p:cNvSpPr/>
              <p:nvPr/>
            </p:nvSpPr>
            <p:spPr>
              <a:xfrm>
                <a:off x="4053271" y="4328919"/>
                <a:ext cx="2058552" cy="93871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ts val="1100"/>
                  </a:lnSpc>
                  <a:spcBef>
                    <a:spcPts val="0"/>
                  </a:spcBef>
                  <a:defRPr/>
                </a:pPr>
                <a:r>
                  <a:rPr lang="ru-RU" sz="10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СТО РЖД 15.015-2016</a:t>
                </a: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/>
                </a:r>
                <a:b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</a:b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«Проходы служебные на объектах ОАО «РЖД».</a:t>
                </a:r>
                <a:b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</a:b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Технические требования, правила устройства</a:t>
                </a:r>
                <a:b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</a:b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и содержания»</a:t>
                </a:r>
              </a:p>
            </p:txBody>
          </p:sp>
          <p:sp>
            <p:nvSpPr>
              <p:cNvPr id="54" name="Прямоугольник 53">
                <a:extLst>
                  <a:ext uri="{FF2B5EF4-FFF2-40B4-BE49-F238E27FC236}">
                    <a16:creationId xmlns="" xmlns:a16="http://schemas.microsoft.com/office/drawing/2014/main" id="{91EB88BC-28CE-4B8D-9DEC-846F9B43296A}"/>
                  </a:ext>
                </a:extLst>
              </p:cNvPr>
              <p:cNvSpPr/>
              <p:nvPr/>
            </p:nvSpPr>
            <p:spPr>
              <a:xfrm>
                <a:off x="1138621" y="2502753"/>
                <a:ext cx="2180494" cy="7976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ts val="1100"/>
                  </a:lnSpc>
                  <a:spcBef>
                    <a:spcPts val="0"/>
                  </a:spcBef>
                  <a:defRPr/>
                </a:pPr>
                <a:r>
                  <a:rPr lang="ru-RU" sz="10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СТО РЖД </a:t>
                </a:r>
                <a:r>
                  <a:rPr lang="ru-RU" sz="1000" b="1" dirty="0" smtClean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15.002-2022</a:t>
                </a: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/>
                </a:r>
                <a:b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</a:b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«Система управления охраной труда в ОАО «РЖД». </a:t>
                </a:r>
                <a:b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</a:b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Организация контроля и порядок его проведения»</a:t>
                </a:r>
              </a:p>
            </p:txBody>
          </p:sp>
        </p:grpSp>
        <p:grpSp>
          <p:nvGrpSpPr>
            <p:cNvPr id="22" name="Группа 37">
              <a:extLst>
                <a:ext uri="{FF2B5EF4-FFF2-40B4-BE49-F238E27FC236}">
                  <a16:creationId xmlns="" xmlns:a16="http://schemas.microsoft.com/office/drawing/2014/main" id="{0E228F62-0B32-4CBB-A07A-A073CE0A04AF}"/>
                </a:ext>
              </a:extLst>
            </p:cNvPr>
            <p:cNvGrpSpPr/>
            <p:nvPr/>
          </p:nvGrpSpPr>
          <p:grpSpPr>
            <a:xfrm>
              <a:off x="4069257" y="2608128"/>
              <a:ext cx="5303337" cy="2733986"/>
              <a:chOff x="-1737929" y="2349048"/>
              <a:chExt cx="5303337" cy="2733986"/>
            </a:xfrm>
          </p:grpSpPr>
          <p:cxnSp>
            <p:nvCxnSpPr>
              <p:cNvPr id="35" name="Прямая соединительная линия 34">
                <a:extLst>
                  <a:ext uri="{FF2B5EF4-FFF2-40B4-BE49-F238E27FC236}">
                    <a16:creationId xmlns="" xmlns:a16="http://schemas.microsoft.com/office/drawing/2014/main" id="{50993BBB-0DC6-46C9-8064-3FA20AF12F8F}"/>
                  </a:ext>
                </a:extLst>
              </p:cNvPr>
              <p:cNvCxnSpPr>
                <a:cxnSpLocks/>
                <a:endCxn id="42" idx="4"/>
              </p:cNvCxnSpPr>
              <p:nvPr/>
            </p:nvCxnSpPr>
            <p:spPr>
              <a:xfrm>
                <a:off x="854871" y="2349048"/>
                <a:ext cx="1286" cy="2733986"/>
              </a:xfrm>
              <a:prstGeom prst="line">
                <a:avLst/>
              </a:prstGeom>
              <a:ln>
                <a:solidFill>
                  <a:srgbClr val="46526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Прямоугольник 35">
                <a:extLst>
                  <a:ext uri="{FF2B5EF4-FFF2-40B4-BE49-F238E27FC236}">
                    <a16:creationId xmlns="" xmlns:a16="http://schemas.microsoft.com/office/drawing/2014/main" id="{F7AD4FB4-41C7-4C4C-937E-914399906311}"/>
                  </a:ext>
                </a:extLst>
              </p:cNvPr>
              <p:cNvSpPr/>
              <p:nvPr/>
            </p:nvSpPr>
            <p:spPr>
              <a:xfrm>
                <a:off x="1110046" y="2492250"/>
                <a:ext cx="2384082" cy="86177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ts val="950"/>
                  </a:lnSpc>
                  <a:defRPr/>
                </a:pPr>
                <a:r>
                  <a:rPr lang="ru-RU" sz="10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СТО РЖД 15.005-2019 </a:t>
                </a: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/>
                </a:r>
                <a:b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</a:b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«Система управления охраной труда в ОАО «РЖД».</a:t>
                </a:r>
              </a:p>
              <a:p>
                <a:pPr>
                  <a:lnSpc>
                    <a:spcPts val="950"/>
                  </a:lnSpc>
                  <a:defRPr/>
                </a:pP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Внутренний аудит. </a:t>
                </a:r>
                <a:b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</a:b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Порядок планирования,</a:t>
                </a:r>
              </a:p>
              <a:p>
                <a:pPr>
                  <a:lnSpc>
                    <a:spcPts val="950"/>
                  </a:lnSpc>
                  <a:defRPr/>
                </a:pP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организации и проведения» </a:t>
                </a:r>
              </a:p>
            </p:txBody>
          </p:sp>
          <p:grpSp>
            <p:nvGrpSpPr>
              <p:cNvPr id="31" name="Группа 40">
                <a:extLst>
                  <a:ext uri="{FF2B5EF4-FFF2-40B4-BE49-F238E27FC236}">
                    <a16:creationId xmlns="" xmlns:a16="http://schemas.microsoft.com/office/drawing/2014/main" id="{3CD0937E-6FB8-47D4-8E52-D0C4017D96DE}"/>
                  </a:ext>
                </a:extLst>
              </p:cNvPr>
              <p:cNvGrpSpPr/>
              <p:nvPr/>
            </p:nvGrpSpPr>
            <p:grpSpPr>
              <a:xfrm>
                <a:off x="611665" y="2702159"/>
                <a:ext cx="488857" cy="284218"/>
                <a:chOff x="611665" y="2702159"/>
                <a:chExt cx="488857" cy="284218"/>
              </a:xfrm>
            </p:grpSpPr>
            <p:sp>
              <p:nvSpPr>
                <p:cNvPr id="46" name="Овал 45">
                  <a:extLst>
                    <a:ext uri="{FF2B5EF4-FFF2-40B4-BE49-F238E27FC236}">
                      <a16:creationId xmlns="" xmlns:a16="http://schemas.microsoft.com/office/drawing/2014/main" id="{C2617D45-0D60-4683-BF08-8924E6C763F3}"/>
                    </a:ext>
                  </a:extLst>
                </p:cNvPr>
                <p:cNvSpPr/>
                <p:nvPr/>
              </p:nvSpPr>
              <p:spPr>
                <a:xfrm>
                  <a:off x="714049" y="2702159"/>
                  <a:ext cx="284218" cy="284218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rgbClr val="46526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47" name="Прямоугольник 46">
                  <a:extLst>
                    <a:ext uri="{FF2B5EF4-FFF2-40B4-BE49-F238E27FC236}">
                      <a16:creationId xmlns="" xmlns:a16="http://schemas.microsoft.com/office/drawing/2014/main" id="{798889C0-D8DA-48B6-98B9-3EF185B9F62E}"/>
                    </a:ext>
                  </a:extLst>
                </p:cNvPr>
                <p:cNvSpPr/>
                <p:nvPr/>
              </p:nvSpPr>
              <p:spPr>
                <a:xfrm>
                  <a:off x="611665" y="2709378"/>
                  <a:ext cx="488857" cy="27699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ru-RU" sz="1200" b="1" dirty="0">
                      <a:solidFill>
                        <a:srgbClr val="313A49"/>
                      </a:solidFill>
                      <a:latin typeface="Verdana" pitchFamily="34" charset="0"/>
                      <a:ea typeface="Verdana" pitchFamily="34" charset="0"/>
                      <a:cs typeface="Verdana" pitchFamily="34" charset="0"/>
                    </a:rPr>
                    <a:t>7</a:t>
                  </a:r>
                  <a:endParaRPr lang="ru-RU" altLang="ru-RU" sz="12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endParaRPr>
                </a:p>
              </p:txBody>
            </p:sp>
          </p:grpSp>
          <p:grpSp>
            <p:nvGrpSpPr>
              <p:cNvPr id="37" name="Группа 41">
                <a:extLst>
                  <a:ext uri="{FF2B5EF4-FFF2-40B4-BE49-F238E27FC236}">
                    <a16:creationId xmlns="" xmlns:a16="http://schemas.microsoft.com/office/drawing/2014/main" id="{2668EB47-AED3-44B3-AE25-211E17F72A58}"/>
                  </a:ext>
                </a:extLst>
              </p:cNvPr>
              <p:cNvGrpSpPr/>
              <p:nvPr/>
            </p:nvGrpSpPr>
            <p:grpSpPr>
              <a:xfrm>
                <a:off x="611729" y="3746878"/>
                <a:ext cx="488857" cy="284218"/>
                <a:chOff x="611665" y="2702159"/>
                <a:chExt cx="488857" cy="284218"/>
              </a:xfrm>
            </p:grpSpPr>
            <p:sp>
              <p:nvSpPr>
                <p:cNvPr id="44" name="Овал 43">
                  <a:extLst>
                    <a:ext uri="{FF2B5EF4-FFF2-40B4-BE49-F238E27FC236}">
                      <a16:creationId xmlns="" xmlns:a16="http://schemas.microsoft.com/office/drawing/2014/main" id="{7539194F-3CD9-4E16-905C-35D66823D30B}"/>
                    </a:ext>
                  </a:extLst>
                </p:cNvPr>
                <p:cNvSpPr/>
                <p:nvPr/>
              </p:nvSpPr>
              <p:spPr>
                <a:xfrm>
                  <a:off x="714049" y="2702159"/>
                  <a:ext cx="284218" cy="284218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rgbClr val="46526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45" name="Прямоугольник 44">
                  <a:extLst>
                    <a:ext uri="{FF2B5EF4-FFF2-40B4-BE49-F238E27FC236}">
                      <a16:creationId xmlns="" xmlns:a16="http://schemas.microsoft.com/office/drawing/2014/main" id="{F446FC16-BABF-491C-85C6-27B1A03988AB}"/>
                    </a:ext>
                  </a:extLst>
                </p:cNvPr>
                <p:cNvSpPr/>
                <p:nvPr/>
              </p:nvSpPr>
              <p:spPr>
                <a:xfrm>
                  <a:off x="611665" y="2709378"/>
                  <a:ext cx="488857" cy="27699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ru-RU" sz="1200" b="1" dirty="0">
                      <a:solidFill>
                        <a:srgbClr val="313A49"/>
                      </a:solidFill>
                      <a:latin typeface="Verdana" pitchFamily="34" charset="0"/>
                      <a:ea typeface="Verdana" pitchFamily="34" charset="0"/>
                      <a:cs typeface="Verdana" pitchFamily="34" charset="0"/>
                    </a:rPr>
                    <a:t>8</a:t>
                  </a:r>
                  <a:endParaRPr lang="ru-RU" altLang="ru-RU" sz="12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endParaRPr>
                </a:p>
              </p:txBody>
            </p:sp>
          </p:grpSp>
          <p:grpSp>
            <p:nvGrpSpPr>
              <p:cNvPr id="38" name="Группа 42">
                <a:extLst>
                  <a:ext uri="{FF2B5EF4-FFF2-40B4-BE49-F238E27FC236}">
                    <a16:creationId xmlns="" xmlns:a16="http://schemas.microsoft.com/office/drawing/2014/main" id="{03CE474D-027F-4047-BBAA-AF17F7AB345E}"/>
                  </a:ext>
                </a:extLst>
              </p:cNvPr>
              <p:cNvGrpSpPr/>
              <p:nvPr/>
            </p:nvGrpSpPr>
            <p:grpSpPr>
              <a:xfrm>
                <a:off x="611664" y="4798816"/>
                <a:ext cx="488857" cy="284218"/>
                <a:chOff x="611665" y="2702159"/>
                <a:chExt cx="488857" cy="284218"/>
              </a:xfrm>
            </p:grpSpPr>
            <p:sp>
              <p:nvSpPr>
                <p:cNvPr id="42" name="Овал 41">
                  <a:extLst>
                    <a:ext uri="{FF2B5EF4-FFF2-40B4-BE49-F238E27FC236}">
                      <a16:creationId xmlns="" xmlns:a16="http://schemas.microsoft.com/office/drawing/2014/main" id="{F10ADA2D-FDA7-402E-96B8-E77CFC794468}"/>
                    </a:ext>
                  </a:extLst>
                </p:cNvPr>
                <p:cNvSpPr/>
                <p:nvPr/>
              </p:nvSpPr>
              <p:spPr>
                <a:xfrm>
                  <a:off x="714049" y="2702159"/>
                  <a:ext cx="284218" cy="284218"/>
                </a:xfrm>
                <a:prstGeom prst="ellipse">
                  <a:avLst/>
                </a:prstGeom>
                <a:solidFill>
                  <a:schemeClr val="bg1"/>
                </a:solidFill>
                <a:ln w="6350">
                  <a:solidFill>
                    <a:srgbClr val="465267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43" name="Прямоугольник 42">
                  <a:extLst>
                    <a:ext uri="{FF2B5EF4-FFF2-40B4-BE49-F238E27FC236}">
                      <a16:creationId xmlns="" xmlns:a16="http://schemas.microsoft.com/office/drawing/2014/main" id="{6D24A192-2F68-48B8-9E10-0D4AC9219387}"/>
                    </a:ext>
                  </a:extLst>
                </p:cNvPr>
                <p:cNvSpPr/>
                <p:nvPr/>
              </p:nvSpPr>
              <p:spPr>
                <a:xfrm>
                  <a:off x="611665" y="2709378"/>
                  <a:ext cx="488857" cy="27699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altLang="ru-RU" sz="1200" b="1" dirty="0">
                      <a:solidFill>
                        <a:srgbClr val="313A49"/>
                      </a:solidFill>
                      <a:latin typeface="Verdana" pitchFamily="34" charset="0"/>
                      <a:ea typeface="Verdana" pitchFamily="34" charset="0"/>
                      <a:cs typeface="Verdana" pitchFamily="34" charset="0"/>
                    </a:rPr>
                    <a:t>9</a:t>
                  </a:r>
                  <a:endParaRPr lang="ru-RU" altLang="ru-RU" sz="12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endParaRPr>
                </a:p>
              </p:txBody>
            </p:sp>
          </p:grpSp>
          <p:sp>
            <p:nvSpPr>
              <p:cNvPr id="40" name="Прямоугольник 39">
                <a:extLst>
                  <a:ext uri="{FF2B5EF4-FFF2-40B4-BE49-F238E27FC236}">
                    <a16:creationId xmlns="" xmlns:a16="http://schemas.microsoft.com/office/drawing/2014/main" id="{EFB0A16A-CF0D-48C1-B491-C2B4A8727F9B}"/>
                  </a:ext>
                </a:extLst>
              </p:cNvPr>
              <p:cNvSpPr/>
              <p:nvPr/>
            </p:nvSpPr>
            <p:spPr>
              <a:xfrm>
                <a:off x="-1737929" y="3503333"/>
                <a:ext cx="2180494" cy="73353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ts val="950"/>
                  </a:lnSpc>
                  <a:defRPr/>
                </a:pPr>
                <a:r>
                  <a:rPr lang="ru-RU" sz="10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СТО РЖД </a:t>
                </a:r>
                <a:r>
                  <a:rPr lang="ru-RU" sz="1000" b="1" dirty="0" smtClean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15.012-2022</a:t>
                </a: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/>
                </a:r>
                <a:b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</a:b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«Система </a:t>
                </a:r>
                <a:r>
                  <a:rPr lang="ru-RU" sz="1000" dirty="0" smtClean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управления </a:t>
                </a: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охраной труда в ОАО «РЖД». </a:t>
                </a:r>
                <a:b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</a:b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Специальная оценка </a:t>
                </a:r>
                <a:b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</a:b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условий труда»</a:t>
                </a:r>
              </a:p>
            </p:txBody>
          </p:sp>
          <p:sp>
            <p:nvSpPr>
              <p:cNvPr id="41" name="Прямоугольник 40">
                <a:extLst>
                  <a:ext uri="{FF2B5EF4-FFF2-40B4-BE49-F238E27FC236}">
                    <a16:creationId xmlns="" xmlns:a16="http://schemas.microsoft.com/office/drawing/2014/main" id="{4DD650BA-710C-403A-B2B5-D3837B46F528}"/>
                  </a:ext>
                </a:extLst>
              </p:cNvPr>
              <p:cNvSpPr/>
              <p:nvPr/>
            </p:nvSpPr>
            <p:spPr>
              <a:xfrm>
                <a:off x="1110046" y="3492437"/>
                <a:ext cx="2455362" cy="73353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ts val="950"/>
                  </a:lnSpc>
                  <a:defRPr/>
                </a:pPr>
                <a:r>
                  <a:rPr lang="ru-RU" sz="10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СТО РЖД 15. 014-2017</a:t>
                </a:r>
                <a:br>
                  <a:rPr lang="ru-RU" sz="10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</a:b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«Система управления охраной труда в ОАО «РЖД». Управление профессиональными рисками.</a:t>
                </a:r>
              </a:p>
              <a:p>
                <a:pPr>
                  <a:lnSpc>
                    <a:spcPts val="950"/>
                  </a:lnSpc>
                  <a:defRPr/>
                </a:pPr>
                <a:r>
                  <a:rPr lang="ru-RU" sz="1000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Общие положения»</a:t>
                </a:r>
              </a:p>
            </p:txBody>
          </p:sp>
        </p:grpSp>
        <p:cxnSp>
          <p:nvCxnSpPr>
            <p:cNvPr id="17" name="Прямая соединительная линия 16">
              <a:extLst>
                <a:ext uri="{FF2B5EF4-FFF2-40B4-BE49-F238E27FC236}">
                  <a16:creationId xmlns="" xmlns:a16="http://schemas.microsoft.com/office/drawing/2014/main" id="{F8C3BB52-7257-4D00-A6FE-3D21EC04F75F}"/>
                </a:ext>
              </a:extLst>
            </p:cNvPr>
            <p:cNvCxnSpPr>
              <a:cxnSpLocks/>
              <a:endCxn id="34" idx="2"/>
            </p:cNvCxnSpPr>
            <p:nvPr/>
          </p:nvCxnSpPr>
          <p:spPr>
            <a:xfrm>
              <a:off x="9423918" y="2598797"/>
              <a:ext cx="10903" cy="646660"/>
            </a:xfrm>
            <a:prstGeom prst="line">
              <a:avLst/>
            </a:prstGeom>
            <a:ln>
              <a:solidFill>
                <a:srgbClr val="46526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Прямоугольник 17">
              <a:extLst>
                <a:ext uri="{FF2B5EF4-FFF2-40B4-BE49-F238E27FC236}">
                  <a16:creationId xmlns="" xmlns:a16="http://schemas.microsoft.com/office/drawing/2014/main" id="{9785D74E-22F4-4654-8912-483A2EC3FE36}"/>
                </a:ext>
              </a:extLst>
            </p:cNvPr>
            <p:cNvSpPr/>
            <p:nvPr/>
          </p:nvSpPr>
          <p:spPr>
            <a:xfrm>
              <a:off x="1106748" y="3637155"/>
              <a:ext cx="2180494" cy="11182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950"/>
                </a:lnSpc>
                <a:defRPr/>
              </a:pPr>
              <a:r>
                <a:rPr lang="ru-RU" sz="1000" b="1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СТО РЖД </a:t>
              </a:r>
              <a:r>
                <a:rPr lang="ru-RU" sz="1000" b="1" dirty="0" smtClean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5.020-2023</a:t>
              </a:r>
              <a: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/>
              </a:r>
              <a:b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</a:br>
              <a: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«Система управления охраной труда в ОАО «РЖД». </a:t>
              </a:r>
              <a:br>
                <a:rPr lang="ru-RU" sz="10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</a:br>
              <a:r>
                <a:rPr lang="ru-RU" sz="1000" dirty="0" smtClean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Порядок обеспечения работников ОАО «РЖД» средствами индивидуальной защиты и смывающими средствами» </a:t>
              </a:r>
              <a:endParaRPr lang="ru-RU" sz="1000" dirty="0">
                <a:solidFill>
                  <a:srgbClr val="313A49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grpSp>
          <p:nvGrpSpPr>
            <p:cNvPr id="39" name="Группа 54">
              <a:extLst>
                <a:ext uri="{FF2B5EF4-FFF2-40B4-BE49-F238E27FC236}">
                  <a16:creationId xmlns="" xmlns:a16="http://schemas.microsoft.com/office/drawing/2014/main" id="{B6A78159-BEC4-44C3-95C2-FDCE8423F5C2}"/>
                </a:ext>
              </a:extLst>
            </p:cNvPr>
            <p:cNvGrpSpPr/>
            <p:nvPr/>
          </p:nvGrpSpPr>
          <p:grpSpPr>
            <a:xfrm>
              <a:off x="9190392" y="2961239"/>
              <a:ext cx="488857" cy="284218"/>
              <a:chOff x="611665" y="2702159"/>
              <a:chExt cx="488857" cy="284218"/>
            </a:xfrm>
          </p:grpSpPr>
          <p:sp>
            <p:nvSpPr>
              <p:cNvPr id="33" name="Овал 32">
                <a:extLst>
                  <a:ext uri="{FF2B5EF4-FFF2-40B4-BE49-F238E27FC236}">
                    <a16:creationId xmlns="" xmlns:a16="http://schemas.microsoft.com/office/drawing/2014/main" id="{D3575B01-7B23-4720-82A8-D8E12F34C944}"/>
                  </a:ext>
                </a:extLst>
              </p:cNvPr>
              <p:cNvSpPr/>
              <p:nvPr/>
            </p:nvSpPr>
            <p:spPr>
              <a:xfrm>
                <a:off x="714049" y="2702159"/>
                <a:ext cx="284218" cy="284218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rgbClr val="46526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4" name="Прямоугольник 33">
                <a:extLst>
                  <a:ext uri="{FF2B5EF4-FFF2-40B4-BE49-F238E27FC236}">
                    <a16:creationId xmlns="" xmlns:a16="http://schemas.microsoft.com/office/drawing/2014/main" id="{E2FDA00A-5CAD-44EE-AC27-0A7315C4E7EC}"/>
                  </a:ext>
                </a:extLst>
              </p:cNvPr>
              <p:cNvSpPr/>
              <p:nvPr/>
            </p:nvSpPr>
            <p:spPr>
              <a:xfrm>
                <a:off x="611665" y="2709378"/>
                <a:ext cx="488857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ru-RU" sz="1200" b="1" dirty="0">
                    <a:solidFill>
                      <a:srgbClr val="313A4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10</a:t>
                </a:r>
                <a:endParaRPr lang="ru-RU" altLang="ru-RU" sz="1200" b="1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</p:grpSp>
        <p:sp>
          <p:nvSpPr>
            <p:cNvPr id="20" name="Прямоугольник 19">
              <a:extLst>
                <a:ext uri="{FF2B5EF4-FFF2-40B4-BE49-F238E27FC236}">
                  <a16:creationId xmlns="" xmlns:a16="http://schemas.microsoft.com/office/drawing/2014/main" id="{DED51C53-F051-4550-8A10-AD038CF2ED20}"/>
                </a:ext>
              </a:extLst>
            </p:cNvPr>
            <p:cNvSpPr/>
            <p:nvPr/>
          </p:nvSpPr>
          <p:spPr>
            <a:xfrm>
              <a:off x="0" y="823912"/>
              <a:ext cx="12191010" cy="1035344"/>
            </a:xfrm>
            <a:prstGeom prst="rect">
              <a:avLst/>
            </a:prstGeom>
            <a:gradFill>
              <a:gsLst>
                <a:gs pos="0">
                  <a:srgbClr val="465267">
                    <a:alpha val="66000"/>
                  </a:srgbClr>
                </a:gs>
                <a:gs pos="39000">
                  <a:srgbClr val="465267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1" name="Title 2">
              <a:extLst>
                <a:ext uri="{FF2B5EF4-FFF2-40B4-BE49-F238E27FC236}">
                  <a16:creationId xmlns="" xmlns:a16="http://schemas.microsoft.com/office/drawing/2014/main" id="{ACA3A1BD-20B4-4CDB-A9AA-6F3A45E41481}"/>
                </a:ext>
              </a:extLst>
            </p:cNvPr>
            <p:cNvSpPr txBox="1">
              <a:spLocks/>
            </p:cNvSpPr>
            <p:nvPr/>
          </p:nvSpPr>
          <p:spPr>
            <a:xfrm>
              <a:off x="1821460" y="1110298"/>
              <a:ext cx="5482492" cy="538304"/>
            </a:xfrm>
            <a:prstGeom prst="rect">
              <a:avLst/>
            </a:prstGeom>
          </p:spPr>
          <p:txBody>
            <a:bodyPr lIns="121917" tIns="60958" rIns="121917" bIns="60958" rtlCol="0">
              <a:noAutofit/>
            </a:bodyPr>
            <a:lstStyle/>
            <a:p>
              <a:r>
                <a:rPr lang="ru-RU" sz="1400" dirty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нормативных и организационно-методических </a:t>
              </a:r>
              <a:br>
                <a:rPr lang="ru-RU" sz="1400" dirty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</a:br>
              <a:r>
                <a:rPr lang="ru-RU" sz="1400" dirty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актов по охране труда, в т.ч.:</a:t>
              </a:r>
            </a:p>
          </p:txBody>
        </p:sp>
        <p:sp>
          <p:nvSpPr>
            <p:cNvPr id="32" name="Title 2">
              <a:extLst>
                <a:ext uri="{FF2B5EF4-FFF2-40B4-BE49-F238E27FC236}">
                  <a16:creationId xmlns="" xmlns:a16="http://schemas.microsoft.com/office/drawing/2014/main" id="{F3FD51EB-90C8-4FD1-81DB-1376C8B23985}"/>
                </a:ext>
              </a:extLst>
            </p:cNvPr>
            <p:cNvSpPr txBox="1">
              <a:spLocks/>
            </p:cNvSpPr>
            <p:nvPr/>
          </p:nvSpPr>
          <p:spPr>
            <a:xfrm>
              <a:off x="704460" y="1092899"/>
              <a:ext cx="1537907" cy="568256"/>
            </a:xfrm>
            <a:prstGeom prst="rect">
              <a:avLst/>
            </a:prstGeom>
          </p:spPr>
          <p:txBody>
            <a:bodyPr lIns="121917" tIns="60958" rIns="121917" bIns="60958" rtlCol="0">
              <a:noAutofit/>
            </a:bodyPr>
            <a:lstStyle/>
            <a:p>
              <a:r>
                <a:rPr lang="ru-RU" sz="3600" b="1" dirty="0" smtClean="0">
                  <a:solidFill>
                    <a:schemeClr val="bg1">
                      <a:lumMod val="75000"/>
                      <a:lumOff val="25000"/>
                    </a:scheme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2</a:t>
              </a:r>
              <a:r>
                <a:rPr lang="en-US" sz="3600" b="1" dirty="0" smtClean="0">
                  <a:solidFill>
                    <a:schemeClr val="bg1">
                      <a:lumMod val="75000"/>
                      <a:lumOff val="25000"/>
                    </a:scheme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42</a:t>
              </a:r>
              <a:endParaRPr lang="ru-RU" sz="4000" dirty="0">
                <a:solidFill>
                  <a:schemeClr val="bg1">
                    <a:lumMod val="75000"/>
                    <a:lumOff val="2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3" name="Title 2">
              <a:extLst>
                <a:ext uri="{FF2B5EF4-FFF2-40B4-BE49-F238E27FC236}">
                  <a16:creationId xmlns="" xmlns:a16="http://schemas.microsoft.com/office/drawing/2014/main" id="{133B20CF-073F-4764-8921-D2072094334E}"/>
                </a:ext>
              </a:extLst>
            </p:cNvPr>
            <p:cNvSpPr txBox="1">
              <a:spLocks/>
            </p:cNvSpPr>
            <p:nvPr/>
          </p:nvSpPr>
          <p:spPr>
            <a:xfrm>
              <a:off x="425899" y="1869414"/>
              <a:ext cx="1282069" cy="568256"/>
            </a:xfrm>
            <a:prstGeom prst="rect">
              <a:avLst/>
            </a:prstGeom>
          </p:spPr>
          <p:txBody>
            <a:bodyPr lIns="121917" tIns="60958" rIns="121917" bIns="60958" rtlCol="0">
              <a:noAutofit/>
            </a:bodyPr>
            <a:lstStyle/>
            <a:p>
              <a:r>
                <a:rPr lang="ru-RU" sz="3600" b="1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0</a:t>
              </a:r>
              <a:endParaRPr lang="ru-RU" sz="4000" dirty="0">
                <a:solidFill>
                  <a:srgbClr val="313A49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4" name="Прямоугольник 23">
              <a:extLst>
                <a:ext uri="{FF2B5EF4-FFF2-40B4-BE49-F238E27FC236}">
                  <a16:creationId xmlns="" xmlns:a16="http://schemas.microsoft.com/office/drawing/2014/main" id="{658ACC2C-15FC-4001-AAD0-E831B9D199E2}"/>
                </a:ext>
              </a:extLst>
            </p:cNvPr>
            <p:cNvSpPr/>
            <p:nvPr/>
          </p:nvSpPr>
          <p:spPr>
            <a:xfrm>
              <a:off x="1216177" y="2132693"/>
              <a:ext cx="1282069" cy="2459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100"/>
                </a:lnSpc>
                <a:spcBef>
                  <a:spcPts val="0"/>
                </a:spcBef>
                <a:defRPr/>
              </a:pPr>
              <a:r>
                <a:rPr lang="ru-RU" sz="1600" dirty="0" smtClean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СТО РЖД</a:t>
              </a:r>
              <a:endParaRPr lang="ru-RU" sz="1600" dirty="0">
                <a:solidFill>
                  <a:srgbClr val="313A49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5" name="Title 2">
              <a:extLst>
                <a:ext uri="{FF2B5EF4-FFF2-40B4-BE49-F238E27FC236}">
                  <a16:creationId xmlns="" xmlns:a16="http://schemas.microsoft.com/office/drawing/2014/main" id="{93123EBF-F536-4253-9E38-F4F1E18884D1}"/>
                </a:ext>
              </a:extLst>
            </p:cNvPr>
            <p:cNvSpPr txBox="1">
              <a:spLocks/>
            </p:cNvSpPr>
            <p:nvPr/>
          </p:nvSpPr>
          <p:spPr>
            <a:xfrm>
              <a:off x="2742632" y="1869414"/>
              <a:ext cx="1282069" cy="568256"/>
            </a:xfrm>
            <a:prstGeom prst="rect">
              <a:avLst/>
            </a:prstGeom>
          </p:spPr>
          <p:txBody>
            <a:bodyPr lIns="121917" tIns="60958" rIns="121917" bIns="60958" rtlCol="0">
              <a:noAutofit/>
            </a:bodyPr>
            <a:lstStyle/>
            <a:p>
              <a:r>
                <a:rPr lang="ru-RU" sz="3600" b="1" dirty="0" smtClean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2</a:t>
              </a:r>
              <a:r>
                <a:rPr lang="en-US" sz="3600" b="1" dirty="0" smtClean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6</a:t>
              </a:r>
              <a:endParaRPr lang="ru-RU" sz="4000" dirty="0">
                <a:solidFill>
                  <a:srgbClr val="313A49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="" xmlns:a16="http://schemas.microsoft.com/office/drawing/2014/main" id="{10E40645-36AE-488A-8A5C-5C895C9D5D54}"/>
                </a:ext>
              </a:extLst>
            </p:cNvPr>
            <p:cNvSpPr/>
            <p:nvPr/>
          </p:nvSpPr>
          <p:spPr>
            <a:xfrm>
              <a:off x="3538926" y="1973275"/>
              <a:ext cx="1899461" cy="4770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500"/>
                </a:lnSpc>
                <a:spcBef>
                  <a:spcPts val="0"/>
                </a:spcBef>
                <a:defRPr/>
              </a:pPr>
              <a:r>
                <a:rPr lang="ru-RU" sz="16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правил по охране труда</a:t>
              </a:r>
            </a:p>
          </p:txBody>
        </p:sp>
        <p:sp>
          <p:nvSpPr>
            <p:cNvPr id="27" name="Title 2">
              <a:extLst>
                <a:ext uri="{FF2B5EF4-FFF2-40B4-BE49-F238E27FC236}">
                  <a16:creationId xmlns="" xmlns:a16="http://schemas.microsoft.com/office/drawing/2014/main" id="{34E0F1FE-3AA5-4DA0-8264-A86B18D26F99}"/>
                </a:ext>
              </a:extLst>
            </p:cNvPr>
            <p:cNvSpPr txBox="1">
              <a:spLocks/>
            </p:cNvSpPr>
            <p:nvPr/>
          </p:nvSpPr>
          <p:spPr>
            <a:xfrm>
              <a:off x="5269743" y="1869414"/>
              <a:ext cx="1282069" cy="568256"/>
            </a:xfrm>
            <a:prstGeom prst="rect">
              <a:avLst/>
            </a:prstGeom>
          </p:spPr>
          <p:txBody>
            <a:bodyPr lIns="121917" tIns="60958" rIns="121917" bIns="60958" rtlCol="0">
              <a:noAutofit/>
            </a:bodyPr>
            <a:lstStyle/>
            <a:p>
              <a:r>
                <a:rPr lang="ru-RU" sz="3600" b="1" dirty="0" smtClean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</a:t>
              </a:r>
              <a:r>
                <a:rPr lang="en-US" sz="3600" b="1" dirty="0" smtClean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5</a:t>
              </a:r>
              <a:r>
                <a:rPr lang="ru-RU" sz="3600" b="1" dirty="0" smtClean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0</a:t>
              </a:r>
              <a:endParaRPr lang="ru-RU" sz="4000" dirty="0">
                <a:solidFill>
                  <a:srgbClr val="313A49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="" xmlns:a16="http://schemas.microsoft.com/office/drawing/2014/main" id="{47D10CDE-D523-479A-BA98-4393C76AA51F}"/>
                </a:ext>
              </a:extLst>
            </p:cNvPr>
            <p:cNvSpPr/>
            <p:nvPr/>
          </p:nvSpPr>
          <p:spPr>
            <a:xfrm>
              <a:off x="6393605" y="1973275"/>
              <a:ext cx="1899461" cy="4770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500"/>
                </a:lnSpc>
                <a:spcBef>
                  <a:spcPts val="0"/>
                </a:spcBef>
                <a:defRPr/>
              </a:pPr>
              <a:r>
                <a:rPr lang="ru-RU" sz="16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инструкций по охране труда</a:t>
              </a:r>
            </a:p>
          </p:txBody>
        </p:sp>
        <p:sp>
          <p:nvSpPr>
            <p:cNvPr id="29" name="Title 2">
              <a:extLst>
                <a:ext uri="{FF2B5EF4-FFF2-40B4-BE49-F238E27FC236}">
                  <a16:creationId xmlns="" xmlns:a16="http://schemas.microsoft.com/office/drawing/2014/main" id="{653F569A-A8DD-4178-AF53-A9D73F33526D}"/>
                </a:ext>
              </a:extLst>
            </p:cNvPr>
            <p:cNvSpPr txBox="1">
              <a:spLocks/>
            </p:cNvSpPr>
            <p:nvPr/>
          </p:nvSpPr>
          <p:spPr>
            <a:xfrm>
              <a:off x="8494804" y="1869414"/>
              <a:ext cx="1042072" cy="568256"/>
            </a:xfrm>
            <a:prstGeom prst="rect">
              <a:avLst/>
            </a:prstGeom>
          </p:spPr>
          <p:txBody>
            <a:bodyPr lIns="121917" tIns="60958" rIns="121917" bIns="60958" rtlCol="0">
              <a:noAutofit/>
            </a:bodyPr>
            <a:lstStyle/>
            <a:p>
              <a:r>
                <a:rPr lang="ru-RU" sz="3600" b="1" dirty="0" smtClean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5</a:t>
              </a:r>
              <a:r>
                <a:rPr lang="en-US" sz="3600" b="1" dirty="0" smtClean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6</a:t>
              </a:r>
              <a:endParaRPr lang="ru-RU" sz="4000" dirty="0">
                <a:solidFill>
                  <a:srgbClr val="313A49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="" xmlns:a16="http://schemas.microsoft.com/office/drawing/2014/main" id="{69FA91A8-08E3-4893-A485-10AA480D85D6}"/>
                </a:ext>
              </a:extLst>
            </p:cNvPr>
            <p:cNvSpPr/>
            <p:nvPr/>
          </p:nvSpPr>
          <p:spPr>
            <a:xfrm>
              <a:off x="9248284" y="1973275"/>
              <a:ext cx="1899461" cy="4770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500"/>
                </a:lnSpc>
                <a:defRPr/>
              </a:pPr>
              <a:r>
                <a:rPr lang="ru-RU" sz="1600" dirty="0">
                  <a:solidFill>
                    <a:srgbClr val="313A4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прочих документов</a:t>
              </a:r>
            </a:p>
          </p:txBody>
        </p:sp>
      </p:grpSp>
      <p:sp>
        <p:nvSpPr>
          <p:cNvPr id="71" name="Прямоугольник 70">
            <a:extLst>
              <a:ext uri="{FF2B5EF4-FFF2-40B4-BE49-F238E27FC236}">
                <a16:creationId xmlns="" xmlns:a16="http://schemas.microsoft.com/office/drawing/2014/main" id="{75737698-456A-4D9A-8717-FDFBEFA16E02}"/>
              </a:ext>
            </a:extLst>
          </p:cNvPr>
          <p:cNvSpPr/>
          <p:nvPr/>
        </p:nvSpPr>
        <p:spPr>
          <a:xfrm>
            <a:off x="1005840" y="6162927"/>
            <a:ext cx="10119360" cy="437963"/>
          </a:xfrm>
          <a:prstGeom prst="rect">
            <a:avLst/>
          </a:prstGeom>
          <a:solidFill>
            <a:srgbClr val="465267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2" name="Title 2">
            <a:extLst>
              <a:ext uri="{FF2B5EF4-FFF2-40B4-BE49-F238E27FC236}">
                <a16:creationId xmlns="" xmlns:a16="http://schemas.microsoft.com/office/drawing/2014/main" id="{ACA3A1BD-20B4-4CDB-A9AA-6F3A45E41481}"/>
              </a:ext>
            </a:extLst>
          </p:cNvPr>
          <p:cNvSpPr txBox="1">
            <a:spLocks/>
          </p:cNvSpPr>
          <p:nvPr/>
        </p:nvSpPr>
        <p:spPr>
          <a:xfrm>
            <a:off x="1018184" y="6175375"/>
            <a:ext cx="10646765" cy="421988"/>
          </a:xfrm>
          <a:prstGeom prst="rect">
            <a:avLst/>
          </a:prstGeom>
        </p:spPr>
        <p:txBody>
          <a:bodyPr lIns="121917" tIns="60958" rIns="121917" bIns="60958" rtlCol="0">
            <a:noAutofit/>
          </a:bodyPr>
          <a:lstStyle/>
          <a:p>
            <a:r>
              <a:rPr lang="ru-RU" sz="1600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Более 100 тыс. локальных нормативных актов по охране труда структурных подразделений </a:t>
            </a:r>
            <a:endParaRPr lang="ru-RU" sz="16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6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5568" y="6065628"/>
            <a:ext cx="515327" cy="52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47024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/>
          <p:nvPr/>
        </p:nvPicPr>
        <p:blipFill>
          <a:blip r:embed="rId3" cstate="print"/>
          <a:srcRect l="25655" t="16239" r="25120" b="6553"/>
          <a:stretch>
            <a:fillRect/>
          </a:stretch>
        </p:blipFill>
        <p:spPr bwMode="auto">
          <a:xfrm>
            <a:off x="8310676" y="1770332"/>
            <a:ext cx="3302204" cy="4081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TextBox 29"/>
          <p:cNvSpPr txBox="1"/>
          <p:nvPr/>
        </p:nvSpPr>
        <p:spPr>
          <a:xfrm>
            <a:off x="3799840" y="3298626"/>
            <a:ext cx="4039268" cy="80791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обязательные требования </a:t>
            </a:r>
            <a:br>
              <a:rPr lang="ru-RU" sz="1600" b="1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ru-RU" sz="1600" b="1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к порядку обучения </a:t>
            </a:r>
            <a:br>
              <a:rPr lang="ru-RU" sz="1600" b="1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ru-RU" sz="1600" b="1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о охране труда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013390" y="2173279"/>
            <a:ext cx="3571336" cy="50013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1588" algn="ctr">
              <a:defRPr/>
            </a:pPr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специфика деятельности и структура управления компании 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039459" y="4775095"/>
            <a:ext cx="3571336" cy="50013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1588" algn="ctr">
              <a:defRPr/>
            </a:pPr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дополнительные </a:t>
            </a:r>
            <a:b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ru-RU" sz="14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элементы обучения </a:t>
            </a:r>
          </a:p>
        </p:txBody>
      </p:sp>
      <p:sp>
        <p:nvSpPr>
          <p:cNvPr id="33" name="Выноска со стрелкой вправо 32"/>
          <p:cNvSpPr/>
          <p:nvPr/>
        </p:nvSpPr>
        <p:spPr>
          <a:xfrm>
            <a:off x="4043680" y="3200590"/>
            <a:ext cx="3921760" cy="1036129"/>
          </a:xfrm>
          <a:prstGeom prst="rightArrowCallout">
            <a:avLst>
              <a:gd name="adj1" fmla="val 60849"/>
              <a:gd name="adj2" fmla="val 40094"/>
              <a:gd name="adj3" fmla="val 19874"/>
              <a:gd name="adj4" fmla="val 91071"/>
            </a:avLst>
          </a:prstGeom>
          <a:noFill/>
          <a:ln w="38100">
            <a:solidFill>
              <a:srgbClr val="2051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4" name="Выноска со стрелкой вниз 33"/>
          <p:cNvSpPr/>
          <p:nvPr/>
        </p:nvSpPr>
        <p:spPr>
          <a:xfrm>
            <a:off x="4053840" y="2131108"/>
            <a:ext cx="3484880" cy="947372"/>
          </a:xfrm>
          <a:prstGeom prst="downArrowCallout">
            <a:avLst/>
          </a:prstGeom>
          <a:noFill/>
          <a:ln w="19050">
            <a:solidFill>
              <a:srgbClr val="2051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5" name="Выноска со стрелкой вверх 34"/>
          <p:cNvSpPr/>
          <p:nvPr/>
        </p:nvSpPr>
        <p:spPr>
          <a:xfrm>
            <a:off x="4714240" y="4378576"/>
            <a:ext cx="2235200" cy="996064"/>
          </a:xfrm>
          <a:prstGeom prst="upArrowCallout">
            <a:avLst/>
          </a:prstGeom>
          <a:noFill/>
          <a:ln w="19050">
            <a:solidFill>
              <a:srgbClr val="2051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7" name="Заголовок 1">
            <a:extLst>
              <a:ext uri="{FF2B5EF4-FFF2-40B4-BE49-F238E27FC236}">
                <a16:creationId xmlns:a16="http://schemas.microsoft.com/office/drawing/2014/main" xmlns="" id="{FE891A01-1469-D41F-830F-28E6FB70C7A6}"/>
              </a:ext>
            </a:extLst>
          </p:cNvPr>
          <p:cNvSpPr txBox="1">
            <a:spLocks/>
          </p:cNvSpPr>
          <p:nvPr/>
        </p:nvSpPr>
        <p:spPr>
          <a:xfrm>
            <a:off x="432920" y="169175"/>
            <a:ext cx="10054674" cy="73041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700" b="0" i="0" u="none" strike="noStrike" kern="1200" cap="none" spc="150" normalizeH="0" baseline="0" noProof="0" dirty="0" smtClean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 ОРГАНИЗАЦИЯ ОБУЧЕНИЯ </a:t>
            </a:r>
            <a:br>
              <a:rPr kumimoji="0" lang="ru-RU" sz="3700" b="0" i="0" u="none" strike="noStrike" kern="1200" cap="none" spc="150" normalizeH="0" baseline="0" noProof="0" dirty="0" smtClean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ru-RU" sz="3700" b="0" i="0" u="none" strike="noStrike" kern="1200" cap="none" spc="150" normalizeH="0" baseline="0" noProof="0" dirty="0" smtClean="0">
                <a:ln w="15875" cap="sq">
                  <a:solidFill>
                    <a:schemeClr val="tx1"/>
                  </a:solidFill>
                  <a:miter lim="800000"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ОХРАНЕ ТРУДА В ОАО «РЖД»</a:t>
            </a:r>
            <a:endParaRPr kumimoji="0" lang="ru-RU" sz="3700" b="0" i="0" u="none" strike="noStrike" kern="1200" cap="none" spc="150" normalizeH="0" baseline="0" noProof="0" dirty="0">
              <a:ln w="15875" cap="sq">
                <a:solidFill>
                  <a:schemeClr val="tx1"/>
                </a:solidFill>
                <a:miter lim="800000"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8" name="Рисунок 37"/>
          <p:cNvPicPr/>
          <p:nvPr/>
        </p:nvPicPr>
        <p:blipFill>
          <a:blip r:embed="rId4"/>
          <a:srcRect l="31553" t="14259" r="29943" b="4753"/>
          <a:stretch>
            <a:fillRect/>
          </a:stretch>
        </p:blipFill>
        <p:spPr bwMode="auto">
          <a:xfrm>
            <a:off x="543560" y="1802130"/>
            <a:ext cx="3154680" cy="412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47024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:a16="http://schemas.microsoft.com/office/drawing/2014/main" xmlns="" id="{FE891A01-1469-D41F-830F-28E6FB70C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920" y="169175"/>
            <a:ext cx="10054674" cy="730418"/>
          </a:xfrm>
        </p:spPr>
        <p:txBody>
          <a:bodyPr>
            <a:noAutofit/>
          </a:bodyPr>
          <a:lstStyle/>
          <a:p>
            <a:r>
              <a:rPr lang="ru-RU" sz="3700" dirty="0"/>
              <a:t>/ </a:t>
            </a:r>
            <a:r>
              <a:rPr lang="ru-RU" sz="3700" dirty="0" smtClean="0"/>
              <a:t>ОРГАНИЗАЦИЯ ОБУЧЕНИЯ </a:t>
            </a:r>
            <a:br>
              <a:rPr lang="ru-RU" sz="3700" dirty="0" smtClean="0"/>
            </a:br>
            <a:r>
              <a:rPr lang="ru-RU" sz="3700" dirty="0" smtClean="0"/>
              <a:t>ПО ОХРАНЕ ТРУДА</a:t>
            </a:r>
            <a:endParaRPr lang="ru-RU" sz="3700" dirty="0"/>
          </a:p>
        </p:txBody>
      </p:sp>
      <p:pic>
        <p:nvPicPr>
          <p:cNvPr id="19" name="Рисунок 18" descr="C:\Users\Наталья\Downloads\DSC03550 (1).jpg"/>
          <p:cNvPicPr/>
          <p:nvPr/>
        </p:nvPicPr>
        <p:blipFill>
          <a:blip r:embed="rId3" cstate="print">
            <a:extLst>
              <a:ext uri="{28A0092B-C50C-407E-A947-70E740481C1C}">
                <a14:useLocalDpi xmlns:lc="http://schemas.openxmlformats.org/drawingml/2006/lockedCanvas" xmlns:pic="http://schemas.openxmlformats.org/drawingml/2006/picture" xmlns="" xmlns:wpc="http://schemas.microsoft.com/office/word/2010/wordprocessingCanvas" xmlns:mc="http://schemas.openxmlformats.org/markup-compatibility/2006" xmlns:o="urn:schemas-microsoft-com:office:office" xmlns:v="urn:schemas-microsoft-com:vml" xmlns:wp14="http://schemas.microsoft.com/office/word/2010/wordprocessingDrawing" xmlns:w10="urn:schemas-microsoft-com:office:word" xmlns:w="http://schemas.openxmlformats.org/wordprocessingml/2006/main" xmlns:w14="http://schemas.microsoft.com/office/word/2010/wordml" xmlns:wpg="http://schemas.microsoft.com/office/word/2010/wordprocessingGroup" xmlns:wpi="http://schemas.microsoft.com/office/word/2010/wordprocessingInk" xmlns:wps="http://schemas.microsoft.com/office/word/2010/wordprocessingShape" xmlns:a14="http://schemas.microsoft.com/office/drawing/2010/main" xmlns:wne="http://schemas.microsoft.com/office/word/2006/wordml" xmlns:wp="http://schemas.openxmlformats.org/drawingml/2006/wordprocessingDrawing" xmlns:m="http://schemas.openxmlformats.org/officeDocument/2006/math" xmlns:ve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auto">
          <a:xfrm>
            <a:off x="2985909" y="2827627"/>
            <a:ext cx="1896644" cy="1220639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Рисунок 19" descr="F:\ВНОТ-2023 Сочи\Сессия по обучению\Фото\DSC_0947.jpg"/>
          <p:cNvPicPr/>
          <p:nvPr/>
        </p:nvPicPr>
        <p:blipFill>
          <a:blip r:embed="rId4" cstate="print"/>
          <a:srcRect l="18439" t="13702"/>
          <a:stretch>
            <a:fillRect/>
          </a:stretch>
        </p:blipFill>
        <p:spPr bwMode="auto">
          <a:xfrm>
            <a:off x="7548115" y="2623731"/>
            <a:ext cx="2769079" cy="1528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Рисунок 20" descr="F:\ВНОТ-2023 Сочи\Сессия по обучению\Фото\PHOTO-2022-08-16-20-09-18(1).jpg"/>
          <p:cNvPicPr/>
          <p:nvPr/>
        </p:nvPicPr>
        <p:blipFill>
          <a:blip r:embed="rId5" cstate="print"/>
          <a:srcRect l="18439" t="4811" r="23517" b="16055"/>
          <a:stretch>
            <a:fillRect/>
          </a:stretch>
        </p:blipFill>
        <p:spPr bwMode="auto">
          <a:xfrm>
            <a:off x="6476816" y="1467159"/>
            <a:ext cx="1269701" cy="2072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Рисунок 21" descr="C:\Users\Наталья\Downloads\DSC06370 (1).jpg"/>
          <p:cNvPicPr/>
          <p:nvPr/>
        </p:nvPicPr>
        <p:blipFill>
          <a:blip r:embed="rId6" cstate="print">
            <a:extLst>
              <a:ext uri="{28A0092B-C50C-407E-A947-70E740481C1C}">
                <a14:useLocalDpi xmlns:lc="http://schemas.openxmlformats.org/drawingml/2006/lockedCanvas" xmlns:pic="http://schemas.openxmlformats.org/drawingml/2006/picture" xmlns="" xmlns:wpc="http://schemas.microsoft.com/office/word/2010/wordprocessingCanvas" xmlns:mc="http://schemas.openxmlformats.org/markup-compatibility/2006" xmlns:o="urn:schemas-microsoft-com:office:office" xmlns:v="urn:schemas-microsoft-com:vml" xmlns:wp14="http://schemas.microsoft.com/office/word/2010/wordprocessingDrawing" xmlns:w10="urn:schemas-microsoft-com:office:word" xmlns:w="http://schemas.openxmlformats.org/wordprocessingml/2006/main" xmlns:w14="http://schemas.microsoft.com/office/word/2010/wordml" xmlns:wpg="http://schemas.microsoft.com/office/word/2010/wordprocessingGroup" xmlns:wpi="http://schemas.microsoft.com/office/word/2010/wordprocessingInk" xmlns:wps="http://schemas.microsoft.com/office/word/2010/wordprocessingShape" xmlns:a14="http://schemas.microsoft.com/office/drawing/2010/main" xmlns:wne="http://schemas.microsoft.com/office/word/2006/wordml" xmlns:wp="http://schemas.openxmlformats.org/drawingml/2006/wordprocessingDrawing" xmlns:m="http://schemas.openxmlformats.org/officeDocument/2006/math" xmlns:ve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auto">
          <a:xfrm>
            <a:off x="3775497" y="1499702"/>
            <a:ext cx="1828800" cy="121919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Группа 64"/>
          <p:cNvGrpSpPr/>
          <p:nvPr/>
        </p:nvGrpSpPr>
        <p:grpSpPr>
          <a:xfrm>
            <a:off x="519826" y="1371599"/>
            <a:ext cx="11298363" cy="4006480"/>
            <a:chOff x="2015735" y="1496743"/>
            <a:chExt cx="5128883" cy="2123821"/>
          </a:xfrm>
        </p:grpSpPr>
        <p:sp>
          <p:nvSpPr>
            <p:cNvPr id="24" name="Freeform 2"/>
            <p:cNvSpPr/>
            <p:nvPr/>
          </p:nvSpPr>
          <p:spPr>
            <a:xfrm>
              <a:off x="4657987" y="1496743"/>
              <a:ext cx="2470166" cy="1464045"/>
            </a:xfrm>
            <a:custGeom>
              <a:avLst/>
              <a:gdLst>
                <a:gd name="connsiteX0" fmla="*/ 0 w 1631188"/>
                <a:gd name="connsiteY0" fmla="*/ 105664 h 1056640"/>
                <a:gd name="connsiteX1" fmla="*/ 105664 w 1631188"/>
                <a:gd name="connsiteY1" fmla="*/ 0 h 1056640"/>
                <a:gd name="connsiteX2" fmla="*/ 1525524 w 1631188"/>
                <a:gd name="connsiteY2" fmla="*/ 0 h 1056640"/>
                <a:gd name="connsiteX3" fmla="*/ 1631188 w 1631188"/>
                <a:gd name="connsiteY3" fmla="*/ 105664 h 1056640"/>
                <a:gd name="connsiteX4" fmla="*/ 1631188 w 1631188"/>
                <a:gd name="connsiteY4" fmla="*/ 950976 h 1056640"/>
                <a:gd name="connsiteX5" fmla="*/ 1525524 w 1631188"/>
                <a:gd name="connsiteY5" fmla="*/ 1056640 h 1056640"/>
                <a:gd name="connsiteX6" fmla="*/ 105664 w 1631188"/>
                <a:gd name="connsiteY6" fmla="*/ 1056640 h 1056640"/>
                <a:gd name="connsiteX7" fmla="*/ 0 w 1631188"/>
                <a:gd name="connsiteY7" fmla="*/ 950976 h 1056640"/>
                <a:gd name="connsiteX8" fmla="*/ 0 w 1631188"/>
                <a:gd name="connsiteY8" fmla="*/ 105664 h 1056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31188" h="1056640">
                  <a:moveTo>
                    <a:pt x="0" y="105664"/>
                  </a:moveTo>
                  <a:cubicBezTo>
                    <a:pt x="0" y="47307"/>
                    <a:pt x="47307" y="0"/>
                    <a:pt x="105664" y="0"/>
                  </a:cubicBezTo>
                  <a:lnTo>
                    <a:pt x="1525524" y="0"/>
                  </a:lnTo>
                  <a:cubicBezTo>
                    <a:pt x="1583881" y="0"/>
                    <a:pt x="1631188" y="47307"/>
                    <a:pt x="1631188" y="105664"/>
                  </a:cubicBezTo>
                  <a:lnTo>
                    <a:pt x="1631188" y="950976"/>
                  </a:lnTo>
                  <a:cubicBezTo>
                    <a:pt x="1631188" y="1009333"/>
                    <a:pt x="1583881" y="1056640"/>
                    <a:pt x="1525524" y="1056640"/>
                  </a:cubicBezTo>
                  <a:lnTo>
                    <a:pt x="105664" y="1056640"/>
                  </a:lnTo>
                  <a:cubicBezTo>
                    <a:pt x="47307" y="1056640"/>
                    <a:pt x="0" y="1009333"/>
                    <a:pt x="0" y="950976"/>
                  </a:cubicBezTo>
                  <a:lnTo>
                    <a:pt x="0" y="105664"/>
                  </a:lnTo>
                  <a:close/>
                </a:path>
              </a:pathLst>
            </a:custGeom>
            <a:noFill/>
            <a:ln w="25400">
              <a:solidFill>
                <a:srgbClr val="C4000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15437" tIns="126081" rIns="126082" bIns="390241" numCol="1" spcCol="953" anchor="t" anchorCtr="0">
              <a:noAutofit/>
            </a:bodyPr>
            <a:lstStyle/>
            <a:p>
              <a:pPr marL="304784" lvl="1" indent="-304784" defTabSz="1244538">
                <a:lnSpc>
                  <a:spcPct val="90000"/>
                </a:lnSpc>
                <a:spcAft>
                  <a:spcPct val="15000"/>
                </a:spcAft>
                <a:buChar char="••"/>
              </a:pPr>
              <a:endParaRPr lang="id-ID" sz="2800" dirty="0"/>
            </a:p>
          </p:txBody>
        </p:sp>
        <p:sp>
          <p:nvSpPr>
            <p:cNvPr id="25" name="Freeform 3"/>
            <p:cNvSpPr/>
            <p:nvPr/>
          </p:nvSpPr>
          <p:spPr>
            <a:xfrm>
              <a:off x="4825766" y="3064004"/>
              <a:ext cx="2318852" cy="483833"/>
            </a:xfrm>
            <a:custGeom>
              <a:avLst/>
              <a:gdLst>
                <a:gd name="connsiteX0" fmla="*/ 0 w 1631188"/>
                <a:gd name="connsiteY0" fmla="*/ 105664 h 1056640"/>
                <a:gd name="connsiteX1" fmla="*/ 105664 w 1631188"/>
                <a:gd name="connsiteY1" fmla="*/ 0 h 1056640"/>
                <a:gd name="connsiteX2" fmla="*/ 1525524 w 1631188"/>
                <a:gd name="connsiteY2" fmla="*/ 0 h 1056640"/>
                <a:gd name="connsiteX3" fmla="*/ 1631188 w 1631188"/>
                <a:gd name="connsiteY3" fmla="*/ 105664 h 1056640"/>
                <a:gd name="connsiteX4" fmla="*/ 1631188 w 1631188"/>
                <a:gd name="connsiteY4" fmla="*/ 950976 h 1056640"/>
                <a:gd name="connsiteX5" fmla="*/ 1525524 w 1631188"/>
                <a:gd name="connsiteY5" fmla="*/ 1056640 h 1056640"/>
                <a:gd name="connsiteX6" fmla="*/ 105664 w 1631188"/>
                <a:gd name="connsiteY6" fmla="*/ 1056640 h 1056640"/>
                <a:gd name="connsiteX7" fmla="*/ 0 w 1631188"/>
                <a:gd name="connsiteY7" fmla="*/ 950976 h 1056640"/>
                <a:gd name="connsiteX8" fmla="*/ 0 w 1631188"/>
                <a:gd name="connsiteY8" fmla="*/ 105664 h 1056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31188" h="1056640">
                  <a:moveTo>
                    <a:pt x="0" y="105664"/>
                  </a:moveTo>
                  <a:cubicBezTo>
                    <a:pt x="0" y="47307"/>
                    <a:pt x="47307" y="0"/>
                    <a:pt x="105664" y="0"/>
                  </a:cubicBezTo>
                  <a:lnTo>
                    <a:pt x="1525524" y="0"/>
                  </a:lnTo>
                  <a:cubicBezTo>
                    <a:pt x="1583881" y="0"/>
                    <a:pt x="1631188" y="47307"/>
                    <a:pt x="1631188" y="105664"/>
                  </a:cubicBezTo>
                  <a:lnTo>
                    <a:pt x="1631188" y="950976"/>
                  </a:lnTo>
                  <a:cubicBezTo>
                    <a:pt x="1631188" y="1009333"/>
                    <a:pt x="1583881" y="1056640"/>
                    <a:pt x="1525524" y="1056640"/>
                  </a:cubicBezTo>
                  <a:lnTo>
                    <a:pt x="105664" y="1056640"/>
                  </a:lnTo>
                  <a:cubicBezTo>
                    <a:pt x="47307" y="1056640"/>
                    <a:pt x="0" y="1009333"/>
                    <a:pt x="0" y="950976"/>
                  </a:cubicBezTo>
                  <a:lnTo>
                    <a:pt x="0" y="105664"/>
                  </a:lnTo>
                  <a:close/>
                </a:path>
              </a:pathLst>
            </a:custGeom>
            <a:noFill/>
            <a:ln w="25400">
              <a:solidFill>
                <a:srgbClr val="0747B1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15437" tIns="390241" rIns="126082" bIns="126081" numCol="1" spcCol="953" anchor="t" anchorCtr="0">
              <a:noAutofit/>
            </a:bodyPr>
            <a:lstStyle/>
            <a:p>
              <a:pPr marL="304784" lvl="1" indent="-304784" defTabSz="1244538">
                <a:lnSpc>
                  <a:spcPct val="90000"/>
                </a:lnSpc>
                <a:spcAft>
                  <a:spcPct val="15000"/>
                </a:spcAft>
                <a:buChar char="••"/>
              </a:pPr>
              <a:endParaRPr lang="id-ID" sz="2800" dirty="0"/>
            </a:p>
          </p:txBody>
        </p:sp>
        <p:sp>
          <p:nvSpPr>
            <p:cNvPr id="26" name="Freeform 4"/>
            <p:cNvSpPr/>
            <p:nvPr/>
          </p:nvSpPr>
          <p:spPr>
            <a:xfrm>
              <a:off x="2015735" y="3063876"/>
              <a:ext cx="2219112" cy="483961"/>
            </a:xfrm>
            <a:custGeom>
              <a:avLst/>
              <a:gdLst>
                <a:gd name="connsiteX0" fmla="*/ 0 w 1631188"/>
                <a:gd name="connsiteY0" fmla="*/ 105664 h 1056640"/>
                <a:gd name="connsiteX1" fmla="*/ 105664 w 1631188"/>
                <a:gd name="connsiteY1" fmla="*/ 0 h 1056640"/>
                <a:gd name="connsiteX2" fmla="*/ 1525524 w 1631188"/>
                <a:gd name="connsiteY2" fmla="*/ 0 h 1056640"/>
                <a:gd name="connsiteX3" fmla="*/ 1631188 w 1631188"/>
                <a:gd name="connsiteY3" fmla="*/ 105664 h 1056640"/>
                <a:gd name="connsiteX4" fmla="*/ 1631188 w 1631188"/>
                <a:gd name="connsiteY4" fmla="*/ 950976 h 1056640"/>
                <a:gd name="connsiteX5" fmla="*/ 1525524 w 1631188"/>
                <a:gd name="connsiteY5" fmla="*/ 1056640 h 1056640"/>
                <a:gd name="connsiteX6" fmla="*/ 105664 w 1631188"/>
                <a:gd name="connsiteY6" fmla="*/ 1056640 h 1056640"/>
                <a:gd name="connsiteX7" fmla="*/ 0 w 1631188"/>
                <a:gd name="connsiteY7" fmla="*/ 950976 h 1056640"/>
                <a:gd name="connsiteX8" fmla="*/ 0 w 1631188"/>
                <a:gd name="connsiteY8" fmla="*/ 105664 h 1056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31188" h="1056640">
                  <a:moveTo>
                    <a:pt x="0" y="105664"/>
                  </a:moveTo>
                  <a:cubicBezTo>
                    <a:pt x="0" y="47307"/>
                    <a:pt x="47307" y="0"/>
                    <a:pt x="105664" y="0"/>
                  </a:cubicBezTo>
                  <a:lnTo>
                    <a:pt x="1525524" y="0"/>
                  </a:lnTo>
                  <a:cubicBezTo>
                    <a:pt x="1583881" y="0"/>
                    <a:pt x="1631188" y="47307"/>
                    <a:pt x="1631188" y="105664"/>
                  </a:cubicBezTo>
                  <a:lnTo>
                    <a:pt x="1631188" y="950976"/>
                  </a:lnTo>
                  <a:cubicBezTo>
                    <a:pt x="1631188" y="1009333"/>
                    <a:pt x="1583881" y="1056640"/>
                    <a:pt x="1525524" y="1056640"/>
                  </a:cubicBezTo>
                  <a:lnTo>
                    <a:pt x="105664" y="1056640"/>
                  </a:lnTo>
                  <a:cubicBezTo>
                    <a:pt x="47307" y="1056640"/>
                    <a:pt x="0" y="1009333"/>
                    <a:pt x="0" y="950976"/>
                  </a:cubicBezTo>
                  <a:lnTo>
                    <a:pt x="0" y="105664"/>
                  </a:lnTo>
                  <a:close/>
                </a:path>
              </a:pathLst>
            </a:custGeom>
            <a:noFill/>
            <a:ln w="25400">
              <a:solidFill>
                <a:srgbClr val="C4000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6081" tIns="390241" rIns="615438" bIns="126081" numCol="1" spcCol="953" anchor="t" anchorCtr="0">
              <a:noAutofit/>
            </a:bodyPr>
            <a:lstStyle/>
            <a:p>
              <a:pPr marL="304784" lvl="1" indent="-304784" defTabSz="1244538">
                <a:lnSpc>
                  <a:spcPct val="90000"/>
                </a:lnSpc>
                <a:spcAft>
                  <a:spcPct val="15000"/>
                </a:spcAft>
                <a:buChar char="••"/>
              </a:pPr>
              <a:endParaRPr lang="id-ID" sz="2800" dirty="0"/>
            </a:p>
          </p:txBody>
        </p:sp>
        <p:sp>
          <p:nvSpPr>
            <p:cNvPr id="27" name="Freeform 5"/>
            <p:cNvSpPr/>
            <p:nvPr/>
          </p:nvSpPr>
          <p:spPr>
            <a:xfrm>
              <a:off x="2040432" y="1511582"/>
              <a:ext cx="2366934" cy="1468992"/>
            </a:xfrm>
            <a:custGeom>
              <a:avLst/>
              <a:gdLst>
                <a:gd name="connsiteX0" fmla="*/ 0 w 1631188"/>
                <a:gd name="connsiteY0" fmla="*/ 105664 h 1056640"/>
                <a:gd name="connsiteX1" fmla="*/ 105664 w 1631188"/>
                <a:gd name="connsiteY1" fmla="*/ 0 h 1056640"/>
                <a:gd name="connsiteX2" fmla="*/ 1525524 w 1631188"/>
                <a:gd name="connsiteY2" fmla="*/ 0 h 1056640"/>
                <a:gd name="connsiteX3" fmla="*/ 1631188 w 1631188"/>
                <a:gd name="connsiteY3" fmla="*/ 105664 h 1056640"/>
                <a:gd name="connsiteX4" fmla="*/ 1631188 w 1631188"/>
                <a:gd name="connsiteY4" fmla="*/ 950976 h 1056640"/>
                <a:gd name="connsiteX5" fmla="*/ 1525524 w 1631188"/>
                <a:gd name="connsiteY5" fmla="*/ 1056640 h 1056640"/>
                <a:gd name="connsiteX6" fmla="*/ 105664 w 1631188"/>
                <a:gd name="connsiteY6" fmla="*/ 1056640 h 1056640"/>
                <a:gd name="connsiteX7" fmla="*/ 0 w 1631188"/>
                <a:gd name="connsiteY7" fmla="*/ 950976 h 1056640"/>
                <a:gd name="connsiteX8" fmla="*/ 0 w 1631188"/>
                <a:gd name="connsiteY8" fmla="*/ 105664 h 1056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31188" h="1056640">
                  <a:moveTo>
                    <a:pt x="0" y="105664"/>
                  </a:moveTo>
                  <a:cubicBezTo>
                    <a:pt x="0" y="47307"/>
                    <a:pt x="47307" y="0"/>
                    <a:pt x="105664" y="0"/>
                  </a:cubicBezTo>
                  <a:lnTo>
                    <a:pt x="1525524" y="0"/>
                  </a:lnTo>
                  <a:cubicBezTo>
                    <a:pt x="1583881" y="0"/>
                    <a:pt x="1631188" y="47307"/>
                    <a:pt x="1631188" y="105664"/>
                  </a:cubicBezTo>
                  <a:lnTo>
                    <a:pt x="1631188" y="950976"/>
                  </a:lnTo>
                  <a:cubicBezTo>
                    <a:pt x="1631188" y="1009333"/>
                    <a:pt x="1583881" y="1056640"/>
                    <a:pt x="1525524" y="1056640"/>
                  </a:cubicBezTo>
                  <a:lnTo>
                    <a:pt x="105664" y="1056640"/>
                  </a:lnTo>
                  <a:cubicBezTo>
                    <a:pt x="47307" y="1056640"/>
                    <a:pt x="0" y="1009333"/>
                    <a:pt x="0" y="950976"/>
                  </a:cubicBezTo>
                  <a:lnTo>
                    <a:pt x="0" y="105664"/>
                  </a:lnTo>
                  <a:close/>
                </a:path>
              </a:pathLst>
            </a:custGeom>
            <a:noFill/>
            <a:ln w="25400">
              <a:solidFill>
                <a:srgbClr val="0747B1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6081" tIns="126081" rIns="615438" bIns="390241" numCol="1" spcCol="953" anchor="t" anchorCtr="0">
              <a:noAutofit/>
            </a:bodyPr>
            <a:lstStyle/>
            <a:p>
              <a:pPr marL="304784" lvl="1" indent="-304784" defTabSz="1244538">
                <a:lnSpc>
                  <a:spcPct val="90000"/>
                </a:lnSpc>
                <a:spcAft>
                  <a:spcPct val="15000"/>
                </a:spcAft>
                <a:buChar char="••"/>
              </a:pPr>
              <a:endParaRPr lang="id-ID" sz="2800" dirty="0"/>
            </a:p>
          </p:txBody>
        </p:sp>
        <p:sp>
          <p:nvSpPr>
            <p:cNvPr id="28" name="Freeform 6"/>
            <p:cNvSpPr/>
            <p:nvPr/>
          </p:nvSpPr>
          <p:spPr>
            <a:xfrm>
              <a:off x="4023027" y="2424921"/>
              <a:ext cx="503155" cy="584958"/>
            </a:xfrm>
            <a:custGeom>
              <a:avLst/>
              <a:gdLst>
                <a:gd name="connsiteX0" fmla="*/ 0 w 1429766"/>
                <a:gd name="connsiteY0" fmla="*/ 1429766 h 1429766"/>
                <a:gd name="connsiteX1" fmla="*/ 1429766 w 1429766"/>
                <a:gd name="connsiteY1" fmla="*/ 0 h 1429766"/>
                <a:gd name="connsiteX2" fmla="*/ 1429766 w 1429766"/>
                <a:gd name="connsiteY2" fmla="*/ 1429766 h 1429766"/>
                <a:gd name="connsiteX3" fmla="*/ 0 w 1429766"/>
                <a:gd name="connsiteY3" fmla="*/ 1429766 h 1429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9766" h="1429766">
                  <a:moveTo>
                    <a:pt x="0" y="1429766"/>
                  </a:moveTo>
                  <a:cubicBezTo>
                    <a:pt x="0" y="640128"/>
                    <a:pt x="640128" y="0"/>
                    <a:pt x="1429766" y="0"/>
                  </a:cubicBezTo>
                  <a:lnTo>
                    <a:pt x="1429766" y="1429766"/>
                  </a:lnTo>
                  <a:lnTo>
                    <a:pt x="0" y="1429766"/>
                  </a:lnTo>
                  <a:close/>
                </a:path>
              </a:pathLst>
            </a:custGeom>
            <a:solidFill>
              <a:srgbClr val="0747B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75233" tIns="575233" rIns="156464" bIns="156464" numCol="1" spcCol="953" anchor="ctr" anchorCtr="0">
              <a:noAutofit/>
            </a:bodyPr>
            <a:lstStyle/>
            <a:p>
              <a:pPr algn="ctr" defTabSz="1303802">
                <a:lnSpc>
                  <a:spcPct val="90000"/>
                </a:lnSpc>
                <a:spcAft>
                  <a:spcPct val="35000"/>
                </a:spcAft>
              </a:pPr>
              <a:endParaRPr lang="id-ID" sz="2900" dirty="0"/>
            </a:p>
          </p:txBody>
        </p:sp>
        <p:sp>
          <p:nvSpPr>
            <p:cNvPr id="29" name="Freeform 7"/>
            <p:cNvSpPr/>
            <p:nvPr/>
          </p:nvSpPr>
          <p:spPr>
            <a:xfrm>
              <a:off x="4531713" y="2422902"/>
              <a:ext cx="529466" cy="586977"/>
            </a:xfrm>
            <a:custGeom>
              <a:avLst/>
              <a:gdLst>
                <a:gd name="connsiteX0" fmla="*/ 0 w 1429766"/>
                <a:gd name="connsiteY0" fmla="*/ 1429766 h 1429766"/>
                <a:gd name="connsiteX1" fmla="*/ 1429766 w 1429766"/>
                <a:gd name="connsiteY1" fmla="*/ 0 h 1429766"/>
                <a:gd name="connsiteX2" fmla="*/ 1429766 w 1429766"/>
                <a:gd name="connsiteY2" fmla="*/ 1429766 h 1429766"/>
                <a:gd name="connsiteX3" fmla="*/ 0 w 1429766"/>
                <a:gd name="connsiteY3" fmla="*/ 1429766 h 1429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9766" h="1429766">
                  <a:moveTo>
                    <a:pt x="0" y="0"/>
                  </a:moveTo>
                  <a:cubicBezTo>
                    <a:pt x="789638" y="0"/>
                    <a:pt x="1429766" y="640128"/>
                    <a:pt x="1429766" y="1429766"/>
                  </a:cubicBezTo>
                  <a:lnTo>
                    <a:pt x="0" y="14297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0000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6464" tIns="575233" rIns="575233" bIns="156464" numCol="1" spcCol="953" anchor="ctr" anchorCtr="0">
              <a:noAutofit/>
            </a:bodyPr>
            <a:lstStyle/>
            <a:p>
              <a:pPr algn="ctr" defTabSz="1303802">
                <a:lnSpc>
                  <a:spcPct val="90000"/>
                </a:lnSpc>
                <a:spcAft>
                  <a:spcPct val="35000"/>
                </a:spcAft>
              </a:pPr>
              <a:endParaRPr lang="id-ID" sz="2900" dirty="0"/>
            </a:p>
          </p:txBody>
        </p:sp>
        <p:sp>
          <p:nvSpPr>
            <p:cNvPr id="30" name="Freeform 8"/>
            <p:cNvSpPr/>
            <p:nvPr/>
          </p:nvSpPr>
          <p:spPr>
            <a:xfrm>
              <a:off x="4531713" y="3014751"/>
              <a:ext cx="527736" cy="605813"/>
            </a:xfrm>
            <a:custGeom>
              <a:avLst/>
              <a:gdLst>
                <a:gd name="connsiteX0" fmla="*/ 0 w 1429766"/>
                <a:gd name="connsiteY0" fmla="*/ 1429766 h 1429766"/>
                <a:gd name="connsiteX1" fmla="*/ 1429766 w 1429766"/>
                <a:gd name="connsiteY1" fmla="*/ 0 h 1429766"/>
                <a:gd name="connsiteX2" fmla="*/ 1429766 w 1429766"/>
                <a:gd name="connsiteY2" fmla="*/ 1429766 h 1429766"/>
                <a:gd name="connsiteX3" fmla="*/ 0 w 1429766"/>
                <a:gd name="connsiteY3" fmla="*/ 1429766 h 1429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9766" h="1429766">
                  <a:moveTo>
                    <a:pt x="1429766" y="0"/>
                  </a:moveTo>
                  <a:cubicBezTo>
                    <a:pt x="1429766" y="789638"/>
                    <a:pt x="789638" y="1429766"/>
                    <a:pt x="0" y="1429766"/>
                  </a:cubicBezTo>
                  <a:lnTo>
                    <a:pt x="0" y="0"/>
                  </a:lnTo>
                  <a:lnTo>
                    <a:pt x="1429766" y="0"/>
                  </a:lnTo>
                  <a:close/>
                </a:path>
              </a:pathLst>
            </a:custGeom>
            <a:solidFill>
              <a:srgbClr val="0747B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56464" tIns="156465" rIns="575234" bIns="575233" numCol="1" spcCol="953" anchor="ctr" anchorCtr="0">
              <a:noAutofit/>
            </a:bodyPr>
            <a:lstStyle/>
            <a:p>
              <a:pPr algn="ctr" defTabSz="1303802">
                <a:lnSpc>
                  <a:spcPct val="90000"/>
                </a:lnSpc>
                <a:spcAft>
                  <a:spcPct val="35000"/>
                </a:spcAft>
              </a:pPr>
              <a:endParaRPr lang="id-ID" sz="2900" dirty="0"/>
            </a:p>
          </p:txBody>
        </p:sp>
        <p:sp>
          <p:nvSpPr>
            <p:cNvPr id="31" name="Freeform 9"/>
            <p:cNvSpPr/>
            <p:nvPr/>
          </p:nvSpPr>
          <p:spPr>
            <a:xfrm>
              <a:off x="4025181" y="3014753"/>
              <a:ext cx="497086" cy="605811"/>
            </a:xfrm>
            <a:custGeom>
              <a:avLst/>
              <a:gdLst>
                <a:gd name="connsiteX0" fmla="*/ 0 w 1429766"/>
                <a:gd name="connsiteY0" fmla="*/ 1429766 h 1429766"/>
                <a:gd name="connsiteX1" fmla="*/ 1429766 w 1429766"/>
                <a:gd name="connsiteY1" fmla="*/ 0 h 1429766"/>
                <a:gd name="connsiteX2" fmla="*/ 1429766 w 1429766"/>
                <a:gd name="connsiteY2" fmla="*/ 1429766 h 1429766"/>
                <a:gd name="connsiteX3" fmla="*/ 0 w 1429766"/>
                <a:gd name="connsiteY3" fmla="*/ 1429766 h 1429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9766" h="1429766">
                  <a:moveTo>
                    <a:pt x="1429766" y="1429766"/>
                  </a:moveTo>
                  <a:cubicBezTo>
                    <a:pt x="640128" y="1429766"/>
                    <a:pt x="0" y="789638"/>
                    <a:pt x="0" y="0"/>
                  </a:cubicBezTo>
                  <a:lnTo>
                    <a:pt x="1429766" y="0"/>
                  </a:lnTo>
                  <a:lnTo>
                    <a:pt x="1429766" y="1429766"/>
                  </a:lnTo>
                  <a:close/>
                </a:path>
              </a:pathLst>
            </a:custGeom>
            <a:solidFill>
              <a:srgbClr val="C40000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75233" tIns="156464" rIns="156464" bIns="575233" numCol="1" spcCol="953" anchor="ctr" anchorCtr="0">
              <a:noAutofit/>
            </a:bodyPr>
            <a:lstStyle/>
            <a:p>
              <a:pPr algn="ctr" defTabSz="1303802">
                <a:lnSpc>
                  <a:spcPct val="90000"/>
                </a:lnSpc>
                <a:spcAft>
                  <a:spcPct val="35000"/>
                </a:spcAft>
              </a:pPr>
              <a:endParaRPr lang="id-ID" sz="2900" dirty="0"/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2064550" y="1629238"/>
              <a:ext cx="1418652" cy="265120"/>
            </a:xfrm>
            <a:prstGeom prst="rect">
              <a:avLst/>
            </a:prstGeom>
          </p:spPr>
          <p:txBody>
            <a:bodyPr wrap="square" lIns="68580" tIns="34290" rIns="68580" bIns="34290">
              <a:spAutoFit/>
            </a:bodyPr>
            <a:lstStyle/>
            <a:p>
              <a:pPr lvl="0" algn="ctr"/>
              <a:r>
                <a:rPr lang="ru-RU" sz="1400" b="1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Корпоративный университет РЖД</a:t>
              </a:r>
              <a:endParaRPr lang="ru-RU" sz="1400" b="1" dirty="0">
                <a:solidFill>
                  <a:srgbClr val="465267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5201059" y="3157147"/>
              <a:ext cx="1861323" cy="248804"/>
            </a:xfrm>
            <a:prstGeom prst="rect">
              <a:avLst/>
            </a:prstGeom>
          </p:spPr>
          <p:txBody>
            <a:bodyPr wrap="square" lIns="68580" tIns="34290" rIns="68580" bIns="34290">
              <a:spAutoFit/>
            </a:bodyPr>
            <a:lstStyle/>
            <a:p>
              <a:pPr lvl="0" algn="ctr"/>
              <a:r>
                <a:rPr lang="ru-RU" sz="1400" b="1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Подразделения компании </a:t>
              </a:r>
              <a:br>
                <a:rPr lang="ru-RU" sz="1400" b="1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</a:br>
              <a:r>
                <a:rPr lang="ru-RU" sz="1100" dirty="0" smtClean="0">
                  <a:latin typeface="Verdana" pitchFamily="34" charset="0"/>
                  <a:ea typeface="Verdana" pitchFamily="34" charset="0"/>
                  <a:cs typeface="Verdana" pitchFamily="34" charset="0"/>
                </a:rPr>
                <a:t>(кабинеты (уголки) охраны труда)</a:t>
              </a:r>
              <a:endParaRPr lang="ru-RU" sz="1100" dirty="0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2061712" y="3105117"/>
              <a:ext cx="1852639" cy="379325"/>
            </a:xfrm>
            <a:prstGeom prst="rect">
              <a:avLst/>
            </a:prstGeom>
          </p:spPr>
          <p:txBody>
            <a:bodyPr wrap="square" lIns="68580" tIns="34290" rIns="68580" bIns="34290">
              <a:spAutoFit/>
            </a:bodyPr>
            <a:lstStyle/>
            <a:p>
              <a:pPr lvl="0" algn="ctr"/>
              <a:r>
                <a:rPr lang="ru-RU" sz="1400" b="1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Высшие учебные заведения железнодорожного транспорта </a:t>
              </a:r>
            </a:p>
            <a:p>
              <a:pPr lvl="0" algn="ctr"/>
              <a:r>
                <a:rPr lang="ru-RU" sz="1400" b="1" dirty="0" smtClean="0">
                  <a:solidFill>
                    <a:srgbClr val="465267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и другие обучающие организации</a:t>
              </a:r>
            </a:p>
          </p:txBody>
        </p:sp>
        <p:sp>
          <p:nvSpPr>
            <p:cNvPr id="35" name="Овал 34"/>
            <p:cNvSpPr/>
            <p:nvPr/>
          </p:nvSpPr>
          <p:spPr>
            <a:xfrm>
              <a:off x="4323400" y="2816514"/>
              <a:ext cx="442503" cy="49792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0" tIns="34290" rIns="68580" bIns="34290" rtlCol="0" anchor="ctr"/>
            <a:lstStyle/>
            <a:p>
              <a:pPr algn="ctr"/>
              <a:endParaRPr lang="ru-RU" dirty="0"/>
            </a:p>
          </p:txBody>
        </p:sp>
      </p:grpSp>
      <p:pic>
        <p:nvPicPr>
          <p:cNvPr id="36" name="Рисунок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715062" y="3932312"/>
            <a:ext cx="761875" cy="741424"/>
          </a:xfrm>
          <a:prstGeom prst="rect">
            <a:avLst/>
          </a:prstGeom>
          <a:noFill/>
          <a:ln w="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37" name="Рисунок 36" descr="C:\Users\Наталья\Downloads\DSC09241.jpg"/>
          <p:cNvPicPr/>
          <p:nvPr/>
        </p:nvPicPr>
        <p:blipFill>
          <a:blip r:embed="rId8" cstate="print">
            <a:extLst>
              <a:ext uri="{28A0092B-C50C-407E-A947-70E740481C1C}">
                <a14:useLocalDpi xmlns:lc="http://schemas.openxmlformats.org/drawingml/2006/lockedCanvas" xmlns:pic="http://schemas.openxmlformats.org/drawingml/2006/picture" xmlns="" xmlns:wpc="http://schemas.microsoft.com/office/word/2010/wordprocessingCanvas" xmlns:mc="http://schemas.openxmlformats.org/markup-compatibility/2006" xmlns:o="urn:schemas-microsoft-com:office:office" xmlns:v="urn:schemas-microsoft-com:vml" xmlns:wp14="http://schemas.microsoft.com/office/word/2010/wordprocessingDrawing" xmlns:w10="urn:schemas-microsoft-com:office:word" xmlns:w="http://schemas.openxmlformats.org/wordprocessingml/2006/main" xmlns:w14="http://schemas.microsoft.com/office/word/2010/wordml" xmlns:wpg="http://schemas.microsoft.com/office/word/2010/wordprocessingGroup" xmlns:wpi="http://schemas.microsoft.com/office/word/2010/wordprocessingInk" xmlns:wps="http://schemas.microsoft.com/office/word/2010/wordprocessingShape" xmlns:a14="http://schemas.microsoft.com/office/drawing/2010/main" xmlns:wne="http://schemas.microsoft.com/office/word/2006/wordml" xmlns:wp="http://schemas.openxmlformats.org/drawingml/2006/wordprocessingDrawing" xmlns:m="http://schemas.openxmlformats.org/officeDocument/2006/math" xmlns:ve="http://schemas.openxmlformats.org/markup-compatibility/2006" val="0"/>
              </a:ext>
            </a:extLst>
          </a:blip>
          <a:srcRect/>
          <a:stretch>
            <a:fillRect/>
          </a:stretch>
        </p:blipFill>
        <p:spPr bwMode="auto">
          <a:xfrm>
            <a:off x="748608" y="2823286"/>
            <a:ext cx="1865193" cy="1230061"/>
          </a:xfrm>
          <a:prstGeom prst="rect">
            <a:avLst/>
          </a:prstGeom>
          <a:noFill/>
          <a:ln>
            <a:noFill/>
          </a:ln>
        </p:spPr>
      </p:pic>
      <p:sp>
        <p:nvSpPr>
          <p:cNvPr id="38" name="Прямоугольник 37"/>
          <p:cNvSpPr/>
          <p:nvPr/>
        </p:nvSpPr>
        <p:spPr>
          <a:xfrm>
            <a:off x="788386" y="2101730"/>
            <a:ext cx="2920976" cy="62324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/>
            <a:r>
              <a:rPr lang="ru-RU" sz="12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В 2021 году - Лучший в мире </a:t>
            </a:r>
          </a:p>
          <a:p>
            <a:pPr lvl="0" algn="ctr"/>
            <a:r>
              <a:rPr lang="ru-RU" sz="12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по версии Всемирного совета корпоративных университетов</a:t>
            </a:r>
            <a:endParaRPr lang="ru-RU" sz="12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798279" y="1411645"/>
            <a:ext cx="3933645" cy="86946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/>
            <a:r>
              <a:rPr lang="ru-RU" sz="1400" b="1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Учебные центры профессиональных квалификаций железных дорог </a:t>
            </a:r>
          </a:p>
          <a:p>
            <a:pPr lvl="0" algn="ctr"/>
            <a:r>
              <a:rPr lang="ru-RU" sz="10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(с учебными полигонами)</a:t>
            </a:r>
            <a:endParaRPr lang="ru-RU" sz="10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9" cstate="print"/>
          <a:srcRect t="13144"/>
          <a:stretch>
            <a:fillRect/>
          </a:stretch>
        </p:blipFill>
        <p:spPr bwMode="auto">
          <a:xfrm>
            <a:off x="10151765" y="2295321"/>
            <a:ext cx="1510701" cy="1749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1" name="Freeform 2"/>
          <p:cNvSpPr/>
          <p:nvPr/>
        </p:nvSpPr>
        <p:spPr>
          <a:xfrm>
            <a:off x="2611120" y="5567680"/>
            <a:ext cx="6756400" cy="1066800"/>
          </a:xfrm>
          <a:custGeom>
            <a:avLst/>
            <a:gdLst>
              <a:gd name="connsiteX0" fmla="*/ 0 w 1631188"/>
              <a:gd name="connsiteY0" fmla="*/ 105664 h 1056640"/>
              <a:gd name="connsiteX1" fmla="*/ 105664 w 1631188"/>
              <a:gd name="connsiteY1" fmla="*/ 0 h 1056640"/>
              <a:gd name="connsiteX2" fmla="*/ 1525524 w 1631188"/>
              <a:gd name="connsiteY2" fmla="*/ 0 h 1056640"/>
              <a:gd name="connsiteX3" fmla="*/ 1631188 w 1631188"/>
              <a:gd name="connsiteY3" fmla="*/ 105664 h 1056640"/>
              <a:gd name="connsiteX4" fmla="*/ 1631188 w 1631188"/>
              <a:gd name="connsiteY4" fmla="*/ 950976 h 1056640"/>
              <a:gd name="connsiteX5" fmla="*/ 1525524 w 1631188"/>
              <a:gd name="connsiteY5" fmla="*/ 1056640 h 1056640"/>
              <a:gd name="connsiteX6" fmla="*/ 105664 w 1631188"/>
              <a:gd name="connsiteY6" fmla="*/ 1056640 h 1056640"/>
              <a:gd name="connsiteX7" fmla="*/ 0 w 1631188"/>
              <a:gd name="connsiteY7" fmla="*/ 950976 h 1056640"/>
              <a:gd name="connsiteX8" fmla="*/ 0 w 1631188"/>
              <a:gd name="connsiteY8" fmla="*/ 105664 h 1056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1188" h="1056640">
                <a:moveTo>
                  <a:pt x="0" y="105664"/>
                </a:moveTo>
                <a:cubicBezTo>
                  <a:pt x="0" y="47307"/>
                  <a:pt x="47307" y="0"/>
                  <a:pt x="105664" y="0"/>
                </a:cubicBezTo>
                <a:lnTo>
                  <a:pt x="1525524" y="0"/>
                </a:lnTo>
                <a:cubicBezTo>
                  <a:pt x="1583881" y="0"/>
                  <a:pt x="1631188" y="47307"/>
                  <a:pt x="1631188" y="105664"/>
                </a:cubicBezTo>
                <a:lnTo>
                  <a:pt x="1631188" y="950976"/>
                </a:lnTo>
                <a:cubicBezTo>
                  <a:pt x="1631188" y="1009333"/>
                  <a:pt x="1583881" y="1056640"/>
                  <a:pt x="1525524" y="1056640"/>
                </a:cubicBezTo>
                <a:lnTo>
                  <a:pt x="105664" y="1056640"/>
                </a:lnTo>
                <a:cubicBezTo>
                  <a:pt x="47307" y="1056640"/>
                  <a:pt x="0" y="1009333"/>
                  <a:pt x="0" y="950976"/>
                </a:cubicBezTo>
                <a:lnTo>
                  <a:pt x="0" y="105664"/>
                </a:lnTo>
                <a:close/>
              </a:path>
            </a:pathLst>
          </a:custGeom>
          <a:noFill/>
          <a:ln w="25400">
            <a:solidFill>
              <a:srgbClr val="006600"/>
            </a:solidFill>
            <a:prstDash val="dash"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5437" tIns="126081" rIns="126082" bIns="390241" numCol="1" spcCol="953" anchor="t" anchorCtr="0">
            <a:noAutofit/>
          </a:bodyPr>
          <a:lstStyle/>
          <a:p>
            <a:pPr marL="304784" lvl="1" indent="-304784" defTabSz="1244538">
              <a:lnSpc>
                <a:spcPct val="90000"/>
              </a:lnSpc>
              <a:spcAft>
                <a:spcPct val="15000"/>
              </a:spcAft>
              <a:buChar char="••"/>
            </a:pPr>
            <a:endParaRPr lang="id-ID" sz="2800" dirty="0"/>
          </a:p>
        </p:txBody>
      </p:sp>
      <p:sp>
        <p:nvSpPr>
          <p:cNvPr id="42" name="Прямоугольник 41"/>
          <p:cNvSpPr/>
          <p:nvPr/>
        </p:nvSpPr>
        <p:spPr>
          <a:xfrm>
            <a:off x="2927230" y="5976553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/>
            <a:r>
              <a:rPr lang="ru-RU" b="1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Вагоны охраны труда</a:t>
            </a:r>
          </a:p>
        </p:txBody>
      </p:sp>
      <p:pic>
        <p:nvPicPr>
          <p:cNvPr id="43" name="Picture 2" descr="C:\Users\zachiniaevag\Desktop\IMG_2718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015761" y="5747640"/>
            <a:ext cx="1261599" cy="719431"/>
          </a:xfrm>
          <a:prstGeom prst="rect">
            <a:avLst/>
          </a:prstGeom>
          <a:noFill/>
        </p:spPr>
      </p:pic>
      <p:pic>
        <p:nvPicPr>
          <p:cNvPr id="44" name="Picture 3" descr="C:\Users\zachiniaevag\Desktop\Поезд знаний\IMG-20230116-WA0010.jpg"/>
          <p:cNvPicPr>
            <a:picLocks noChangeAspect="1" noChangeArrowheads="1"/>
          </p:cNvPicPr>
          <p:nvPr/>
        </p:nvPicPr>
        <p:blipFill>
          <a:blip r:embed="rId11" cstate="print"/>
          <a:srcRect t="14164"/>
          <a:stretch>
            <a:fillRect/>
          </a:stretch>
        </p:blipFill>
        <p:spPr bwMode="auto">
          <a:xfrm>
            <a:off x="7630159" y="5685478"/>
            <a:ext cx="1447133" cy="827295"/>
          </a:xfrm>
          <a:prstGeom prst="rect">
            <a:avLst/>
          </a:prstGeom>
          <a:noFill/>
        </p:spPr>
      </p:pic>
      <p:pic>
        <p:nvPicPr>
          <p:cNvPr id="45" name="Picture 1"/>
          <p:cNvPicPr>
            <a:picLocks noChangeAspect="1" noChangeArrowheads="1"/>
          </p:cNvPicPr>
          <p:nvPr/>
        </p:nvPicPr>
        <p:blipFill>
          <a:blip r:embed="rId12" cstate="print"/>
          <a:srcRect b="11636"/>
          <a:stretch>
            <a:fillRect/>
          </a:stretch>
        </p:blipFill>
        <p:spPr bwMode="auto">
          <a:xfrm>
            <a:off x="2859320" y="5659120"/>
            <a:ext cx="1407880" cy="884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147024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FE891A01-1469-D41F-830F-28E6FB70C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269" y="365126"/>
            <a:ext cx="8787055" cy="730418"/>
          </a:xfrm>
        </p:spPr>
        <p:txBody>
          <a:bodyPr>
            <a:normAutofit fontScale="90000"/>
          </a:bodyPr>
          <a:lstStyle/>
          <a:p>
            <a:r>
              <a:rPr lang="ru-RU" dirty="0"/>
              <a:t>/ </a:t>
            </a:r>
            <a:r>
              <a:rPr lang="ru-RU" dirty="0" smtClean="0"/>
              <a:t>ПРИМЕНЕНИЕ КОМПЬЮТЕРНЫХ ТЕХНОЛОГИЙ</a:t>
            </a:r>
            <a:endParaRPr lang="ru-RU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173879" y="2280114"/>
            <a:ext cx="6101012" cy="4100989"/>
            <a:chOff x="-687711" y="1867729"/>
            <a:chExt cx="6939039" cy="4361267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xmlns="" id="{44E0945C-98FA-4423-A909-208C25741B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20588"/>
            <a:stretch/>
          </p:blipFill>
          <p:spPr>
            <a:xfrm>
              <a:off x="-218328" y="1867729"/>
              <a:ext cx="3135415" cy="1631367"/>
            </a:xfrm>
            <a:prstGeom prst="rect">
              <a:avLst/>
            </a:prstGeom>
          </p:spPr>
        </p:pic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xmlns="" id="{ADCD13C1-EC39-4CBC-8EF5-D9BF06B8DC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16963"/>
            <a:stretch/>
          </p:blipFill>
          <p:spPr>
            <a:xfrm>
              <a:off x="2945611" y="1878364"/>
              <a:ext cx="3274493" cy="1915114"/>
            </a:xfrm>
            <a:prstGeom prst="rect">
              <a:avLst/>
            </a:prstGeom>
          </p:spPr>
        </p:pic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5F02B5BC-3B57-45AA-83F8-CE930643DB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20335" t="17794" r="15357"/>
            <a:stretch/>
          </p:blipFill>
          <p:spPr>
            <a:xfrm>
              <a:off x="-687711" y="3134673"/>
              <a:ext cx="3793588" cy="3094323"/>
            </a:xfrm>
            <a:prstGeom prst="rect">
              <a:avLst/>
            </a:prstGeom>
          </p:spPr>
        </p:pic>
        <p:pic>
          <p:nvPicPr>
            <p:cNvPr id="7" name="Рисунок 12" descr="Безымянный.jpg">
              <a:extLst>
                <a:ext uri="{FF2B5EF4-FFF2-40B4-BE49-F238E27FC236}">
                  <a16:creationId xmlns:a16="http://schemas.microsoft.com/office/drawing/2014/main" xmlns="" id="{B5276053-AEC0-4339-902F-EE377663A40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945611" y="4375160"/>
              <a:ext cx="3305717" cy="18448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81EAC457-E8B8-138B-147A-6E05DD61346C}"/>
              </a:ext>
            </a:extLst>
          </p:cNvPr>
          <p:cNvCxnSpPr>
            <a:cxnSpLocks/>
          </p:cNvCxnSpPr>
          <p:nvPr/>
        </p:nvCxnSpPr>
        <p:spPr>
          <a:xfrm>
            <a:off x="6391805" y="1141913"/>
            <a:ext cx="1" cy="5486401"/>
          </a:xfrm>
          <a:prstGeom prst="line">
            <a:avLst/>
          </a:prstGeom>
          <a:ln w="34925" cmpd="sng">
            <a:solidFill>
              <a:srgbClr val="2051A0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186A4D7-05BC-4D26-B70B-1A7A721FF349}"/>
              </a:ext>
            </a:extLst>
          </p:cNvPr>
          <p:cNvSpPr txBox="1"/>
          <p:nvPr/>
        </p:nvSpPr>
        <p:spPr>
          <a:xfrm>
            <a:off x="247135" y="1478674"/>
            <a:ext cx="5923006" cy="646331"/>
          </a:xfrm>
          <a:prstGeom prst="rect">
            <a:avLst/>
          </a:prstGeom>
          <a:noFill/>
          <a:ln w="12700" cmpd="sng">
            <a:solidFill>
              <a:srgbClr val="465267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</a:rPr>
              <a:t>Дополнительное обучение с применением </a:t>
            </a:r>
            <a:br>
              <a:rPr lang="ru-RU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</a:rPr>
            </a:br>
            <a:r>
              <a:rPr lang="en-US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</a:rPr>
              <a:t>VR</a:t>
            </a:r>
            <a:r>
              <a:rPr lang="ru-RU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</a:rPr>
              <a:t>-технологий</a:t>
            </a:r>
            <a:endParaRPr lang="ru-RU" b="1" dirty="0">
              <a:solidFill>
                <a:srgbClr val="465267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186A4D7-05BC-4D26-B70B-1A7A721FF349}"/>
              </a:ext>
            </a:extLst>
          </p:cNvPr>
          <p:cNvSpPr txBox="1"/>
          <p:nvPr/>
        </p:nvSpPr>
        <p:spPr>
          <a:xfrm>
            <a:off x="6582032" y="1491032"/>
            <a:ext cx="5387546" cy="369332"/>
          </a:xfrm>
          <a:prstGeom prst="rect">
            <a:avLst/>
          </a:prstGeom>
          <a:noFill/>
          <a:ln w="12700" cmpd="sng">
            <a:solidFill>
              <a:srgbClr val="465267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465267"/>
                </a:solidFill>
                <a:latin typeface="Verdana" pitchFamily="34" charset="0"/>
                <a:ea typeface="Verdana" pitchFamily="34" charset="0"/>
              </a:rPr>
              <a:t>Инструктажи по охране труда</a:t>
            </a:r>
            <a:endParaRPr lang="ru-RU" b="1" dirty="0">
              <a:solidFill>
                <a:srgbClr val="465267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flipH="1">
            <a:off x="6514383" y="1976273"/>
            <a:ext cx="1640138" cy="99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 descr="http://rzd-expo.ru/images/innovation_skorostnoe_dvi/Obch_vid_kontaktnoi_seti_na_peregone.png"/>
          <p:cNvPicPr>
            <a:picLocks noChangeAspect="1" noChangeArrowheads="1"/>
          </p:cNvPicPr>
          <p:nvPr/>
        </p:nvPicPr>
        <p:blipFill>
          <a:blip r:embed="rId8" cstate="print"/>
          <a:srcRect t="12500"/>
          <a:stretch>
            <a:fillRect/>
          </a:stretch>
        </p:blipFill>
        <p:spPr bwMode="auto">
          <a:xfrm>
            <a:off x="8183952" y="3150467"/>
            <a:ext cx="2204971" cy="99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" descr="http://kartalinka.ru/sites/default/files/pms3628022012_0.jpg"/>
          <p:cNvPicPr>
            <a:picLocks noChangeAspect="1" noChangeArrowheads="1"/>
          </p:cNvPicPr>
          <p:nvPr/>
        </p:nvPicPr>
        <p:blipFill>
          <a:blip r:embed="rId9" cstate="print"/>
          <a:srcRect l="40977" t="28294" r="20982" b="30362"/>
          <a:stretch>
            <a:fillRect/>
          </a:stretch>
        </p:blipFill>
        <p:spPr bwMode="auto">
          <a:xfrm>
            <a:off x="10338486" y="1993559"/>
            <a:ext cx="1672280" cy="96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3" descr="Y:\РЖД\Договора\2014\Центральная комиссия\фото\DSC_0005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675657" y="4933432"/>
            <a:ext cx="3363047" cy="162172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F186A4D7-05BC-4D26-B70B-1A7A721FF349}"/>
              </a:ext>
            </a:extLst>
          </p:cNvPr>
          <p:cNvSpPr txBox="1"/>
          <p:nvPr/>
        </p:nvSpPr>
        <p:spPr>
          <a:xfrm>
            <a:off x="7809495" y="2384842"/>
            <a:ext cx="2883242" cy="307777"/>
          </a:xfrm>
          <a:prstGeom prst="rect">
            <a:avLst/>
          </a:prstGeom>
          <a:noFill/>
          <a:ln w="19050" cap="sq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4B66CA"/>
                </a:solidFill>
                <a:latin typeface="Verdana" pitchFamily="34" charset="0"/>
                <a:ea typeface="Verdana" pitchFamily="34" charset="0"/>
              </a:rPr>
              <a:t>Видео-инструктажи</a:t>
            </a:r>
            <a:endParaRPr lang="ru-RU" sz="1400" b="1" dirty="0">
              <a:solidFill>
                <a:srgbClr val="4B66CA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8229602" y="2339554"/>
            <a:ext cx="2010033" cy="395417"/>
          </a:xfrm>
          <a:prstGeom prst="roundRect">
            <a:avLst/>
          </a:prstGeom>
          <a:noFill/>
          <a:ln w="22225">
            <a:solidFill>
              <a:srgbClr val="1935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F186A4D7-05BC-4D26-B70B-1A7A721FF349}"/>
              </a:ext>
            </a:extLst>
          </p:cNvPr>
          <p:cNvSpPr txBox="1"/>
          <p:nvPr/>
        </p:nvSpPr>
        <p:spPr>
          <a:xfrm>
            <a:off x="7879515" y="4431982"/>
            <a:ext cx="2883242" cy="307777"/>
          </a:xfrm>
          <a:prstGeom prst="rect">
            <a:avLst/>
          </a:prstGeom>
          <a:noFill/>
          <a:ln w="19050" cap="sq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C00000"/>
                </a:solidFill>
                <a:latin typeface="Verdana" pitchFamily="34" charset="0"/>
                <a:ea typeface="Verdana" pitchFamily="34" charset="0"/>
              </a:rPr>
              <a:t>Тестирование</a:t>
            </a:r>
            <a:endParaRPr lang="ru-RU" sz="1400" b="1" dirty="0">
              <a:solidFill>
                <a:srgbClr val="C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299622" y="4386694"/>
            <a:ext cx="2010033" cy="395417"/>
          </a:xfrm>
          <a:prstGeom prst="roundRect">
            <a:avLst/>
          </a:prstGeom>
          <a:noFill/>
          <a:ln w="222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7024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Тема Office">
  <a:themeElements>
    <a:clrScheme name="БРЕНД РАБОТОДАТЕЛЯ ОАО «РЖД»">
      <a:dk1>
        <a:srgbClr val="000000"/>
      </a:dk1>
      <a:lt1>
        <a:srgbClr val="FFFFFF"/>
      </a:lt1>
      <a:dk2>
        <a:srgbClr val="7F7F7F"/>
      </a:dk2>
      <a:lt2>
        <a:srgbClr val="F6F6F6"/>
      </a:lt2>
      <a:accent1>
        <a:srgbClr val="FF0000"/>
      </a:accent1>
      <a:accent2>
        <a:srgbClr val="FE8610"/>
      </a:accent2>
      <a:accent3>
        <a:srgbClr val="0AB673"/>
      </a:accent3>
      <a:accent4>
        <a:srgbClr val="9B3DC3"/>
      </a:accent4>
      <a:accent5>
        <a:srgbClr val="4A65C9"/>
      </a:accent5>
      <a:accent6>
        <a:srgbClr val="D9D9D9"/>
      </a:accent6>
      <a:hlink>
        <a:srgbClr val="FF0000"/>
      </a:hlink>
      <a:folHlink>
        <a:srgbClr val="B92315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09A6B7C6-01EB-DA46-86D6-99A703775D68}tf16401369</Template>
  <TotalTime>31742</TotalTime>
  <Words>978</Words>
  <Application>Microsoft Office PowerPoint</Application>
  <PresentationFormat>Произвольный</PresentationFormat>
  <Paragraphs>240</Paragraphs>
  <Slides>18</Slides>
  <Notes>13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19" baseType="lpstr">
      <vt:lpstr>Тема Office</vt:lpstr>
      <vt:lpstr>Обучение по охране труда работников  ОАО «РЖД» </vt:lpstr>
      <vt:lpstr>Слайд 2</vt:lpstr>
      <vt:lpstr>/ ОАО «РЖД» СЕГОДНЯ</vt:lpstr>
      <vt:lpstr>/ ОАО «РЖД» СЕГОДНЯ</vt:lpstr>
      <vt:lpstr>/ ДЕПАРТАМЕНТ ЭКОЛОГИИ И ТЕХНОСФЕРНОЙ БЕЗОПАСНОСТИ</vt:lpstr>
      <vt:lpstr>/ НОРМАТИВНОЕ ОБЕСПЕЧЕНИЕ СУОТ В ОАО «РЖД»</vt:lpstr>
      <vt:lpstr>Слайд 7</vt:lpstr>
      <vt:lpstr>/ ОРГАНИЗАЦИЯ ОБУЧЕНИЯ  ПО ОХРАНЕ ТРУДА</vt:lpstr>
      <vt:lpstr>/ ПРИМЕНЕНИЕ КОМПЬЮТЕРНЫХ ТЕХНОЛОГИЙ</vt:lpstr>
      <vt:lpstr>/ Дополнительные элементы обучения</vt:lpstr>
      <vt:lpstr>/ ДОПОЛНИТЕЛЬНОЕ ОБУЧЕНИЕ ПО ОХРАНЕ ТРУДА</vt:lpstr>
      <vt:lpstr>/ ДОПОЛНИТЕЛЬНОЕ ОБУЧЕНИЕ ПО ОХРАНЕ ТРУДА</vt:lpstr>
      <vt:lpstr>/ РАБОТА В ЛКОТ</vt:lpstr>
      <vt:lpstr>/ ОПТИМИЗАЦИЯ ПОРЯДКА ОБУЧЕНИЯ ПО ОХРАНЕ ТРУДА </vt:lpstr>
      <vt:lpstr>/ О РАБОТЕ ЛКОТ </vt:lpstr>
      <vt:lpstr>Слайд 16</vt:lpstr>
      <vt:lpstr>/ ПОЛИТИКА ХОЛДИНГА РЖД В ОБЛАСТИ ОХРАНЫ ТРУДА И ОКРУЖАЮЩЕЙ СРЕДЫ, ПРОМЫШЛЕННОЙ И ПОЖАРНОЙ БЕЗОПАСНОСТИ</vt:lpstr>
      <vt:lpstr>/ КУЛЬТУРА БЕЗОПАСНОСТИ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Iaroslav Velikanov</dc:creator>
  <cp:lastModifiedBy>Пользователь Windows</cp:lastModifiedBy>
  <cp:revision>751</cp:revision>
  <dcterms:created xsi:type="dcterms:W3CDTF">2023-02-05T16:13:58Z</dcterms:created>
  <dcterms:modified xsi:type="dcterms:W3CDTF">2024-07-05T12:57:31Z</dcterms:modified>
</cp:coreProperties>
</file>